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</p:sldMasterIdLst>
  <p:notesMasterIdLst>
    <p:notesMasterId r:id="rId11"/>
  </p:notesMasterIdLst>
  <p:sldIdLst>
    <p:sldId id="2147374994" r:id="rId6"/>
    <p:sldId id="2147375010" r:id="rId7"/>
    <p:sldId id="2147375009" r:id="rId8"/>
    <p:sldId id="2147375011" r:id="rId9"/>
    <p:sldId id="2147375012" r:id="rId1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k Chevalier" initials="FC" lastIdx="4" clrIdx="0">
    <p:extLst>
      <p:ext uri="{19B8F6BF-5375-455C-9EA6-DF929625EA0E}">
        <p15:presenceInfo xmlns:p15="http://schemas.microsoft.com/office/powerpoint/2012/main" userId="S::franck.chevalier@fr.ey.com::81b41394-f17e-48aa-8cc4-5a2d9552c7d1" providerId="AD"/>
      </p:ext>
    </p:extLst>
  </p:cmAuthor>
  <p:cmAuthor id="2" name="Alexandre Eboyeye" initials="AE" lastIdx="2" clrIdx="1">
    <p:extLst>
      <p:ext uri="{19B8F6BF-5375-455C-9EA6-DF929625EA0E}">
        <p15:presenceInfo xmlns:p15="http://schemas.microsoft.com/office/powerpoint/2012/main" userId="S::Alexandre.Eboyeye@fr.ey.com::316ff3d3-66b8-46a1-a9fd-7c08c66ede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38"/>
    <a:srgbClr val="646464"/>
    <a:srgbClr val="385D8A"/>
    <a:srgbClr val="4F81BD"/>
    <a:srgbClr val="FFFCE5"/>
    <a:srgbClr val="FFFEF7"/>
    <a:srgbClr val="DFDFE5"/>
    <a:srgbClr val="FFE600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7AC023-558D-6E4A-BC6E-2349D2413AC8}" v="61" dt="2025-06-16T11:40:24.2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19"/>
    <p:restoredTop sz="94170" autoAdjust="0"/>
  </p:normalViewPr>
  <p:slideViewPr>
    <p:cSldViewPr>
      <p:cViewPr varScale="1">
        <p:scale>
          <a:sx n="109" d="100"/>
          <a:sy n="109" d="100"/>
        </p:scale>
        <p:origin x="1448" y="1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niv Benichou" userId="be098413-07c9-459d-baf9-88783eff504c" providerId="ADAL" clId="{0A7AC023-558D-6E4A-BC6E-2349D2413AC8}"/>
    <pc:docChg chg="custSel modSld delMainMaster">
      <pc:chgData name="Yaniv Benichou" userId="be098413-07c9-459d-baf9-88783eff504c" providerId="ADAL" clId="{0A7AC023-558D-6E4A-BC6E-2349D2413AC8}" dt="2025-06-16T11:40:24.280" v="164" actId="1038"/>
      <pc:docMkLst>
        <pc:docMk/>
      </pc:docMkLst>
      <pc:sldChg chg="addSp delSp modSp mod">
        <pc:chgData name="Yaniv Benichou" userId="be098413-07c9-459d-baf9-88783eff504c" providerId="ADAL" clId="{0A7AC023-558D-6E4A-BC6E-2349D2413AC8}" dt="2025-06-16T11:40:24.280" v="164" actId="1038"/>
        <pc:sldMkLst>
          <pc:docMk/>
          <pc:sldMk cId="1738471734" sldId="2147374994"/>
        </pc:sldMkLst>
        <pc:spChg chg="mod">
          <ac:chgData name="Yaniv Benichou" userId="be098413-07c9-459d-baf9-88783eff504c" providerId="ADAL" clId="{0A7AC023-558D-6E4A-BC6E-2349D2413AC8}" dt="2025-05-27T15:52:19.303" v="106" actId="20577"/>
          <ac:spMkLst>
            <pc:docMk/>
            <pc:sldMk cId="1738471734" sldId="2147374994"/>
            <ac:spMk id="15" creationId="{3E803CB2-76DF-4825-A485-54CE2FA0C364}"/>
          </ac:spMkLst>
        </pc:spChg>
        <pc:spChg chg="mod">
          <ac:chgData name="Yaniv Benichou" userId="be098413-07c9-459d-baf9-88783eff504c" providerId="ADAL" clId="{0A7AC023-558D-6E4A-BC6E-2349D2413AC8}" dt="2025-05-14T14:41:36.757" v="0" actId="1076"/>
          <ac:spMkLst>
            <pc:docMk/>
            <pc:sldMk cId="1738471734" sldId="2147374994"/>
            <ac:spMk id="43" creationId="{08122175-F658-4086-AC4B-1EC45829FB7A}"/>
          </ac:spMkLst>
        </pc:spChg>
        <pc:spChg chg="mod">
          <ac:chgData name="Yaniv Benichou" userId="be098413-07c9-459d-baf9-88783eff504c" providerId="ADAL" clId="{0A7AC023-558D-6E4A-BC6E-2349D2413AC8}" dt="2025-05-27T15:43:56.132" v="17" actId="20577"/>
          <ac:spMkLst>
            <pc:docMk/>
            <pc:sldMk cId="1738471734" sldId="2147374994"/>
            <ac:spMk id="60" creationId="{D81BACB9-9466-431A-B125-7E8210A08C4E}"/>
          </ac:spMkLst>
        </pc:spChg>
        <pc:spChg chg="mod">
          <ac:chgData name="Yaniv Benichou" userId="be098413-07c9-459d-baf9-88783eff504c" providerId="ADAL" clId="{0A7AC023-558D-6E4A-BC6E-2349D2413AC8}" dt="2025-05-27T15:44:16.773" v="22" actId="20577"/>
          <ac:spMkLst>
            <pc:docMk/>
            <pc:sldMk cId="1738471734" sldId="2147374994"/>
            <ac:spMk id="80" creationId="{4EF58F42-802F-4F49-B111-3ADABD681F6A}"/>
          </ac:spMkLst>
        </pc:spChg>
        <pc:spChg chg="mod">
          <ac:chgData name="Yaniv Benichou" userId="be098413-07c9-459d-baf9-88783eff504c" providerId="ADAL" clId="{0A7AC023-558D-6E4A-BC6E-2349D2413AC8}" dt="2025-05-27T15:43:59.565" v="18" actId="20577"/>
          <ac:spMkLst>
            <pc:docMk/>
            <pc:sldMk cId="1738471734" sldId="2147374994"/>
            <ac:spMk id="81" creationId="{68E9BF41-85CB-487F-B39F-1BF08F811CF6}"/>
          </ac:spMkLst>
        </pc:spChg>
        <pc:picChg chg="add del mod">
          <ac:chgData name="Yaniv Benichou" userId="be098413-07c9-459d-baf9-88783eff504c" providerId="ADAL" clId="{0A7AC023-558D-6E4A-BC6E-2349D2413AC8}" dt="2025-06-16T11:38:17.936" v="130" actId="478"/>
          <ac:picMkLst>
            <pc:docMk/>
            <pc:sldMk cId="1738471734" sldId="2147374994"/>
            <ac:picMk id="2" creationId="{874C6473-BB06-D4CF-F718-56736E4FAF66}"/>
          </ac:picMkLst>
        </pc:picChg>
        <pc:picChg chg="add mod">
          <ac:chgData name="Yaniv Benichou" userId="be098413-07c9-459d-baf9-88783eff504c" providerId="ADAL" clId="{0A7AC023-558D-6E4A-BC6E-2349D2413AC8}" dt="2025-06-16T11:40:05.346" v="157" actId="1076"/>
          <ac:picMkLst>
            <pc:docMk/>
            <pc:sldMk cId="1738471734" sldId="2147374994"/>
            <ac:picMk id="9" creationId="{FA8B0DEC-6E47-B6E6-B3FC-7CCA87728D23}"/>
          </ac:picMkLst>
        </pc:picChg>
        <pc:picChg chg="add mod">
          <ac:chgData name="Yaniv Benichou" userId="be098413-07c9-459d-baf9-88783eff504c" providerId="ADAL" clId="{0A7AC023-558D-6E4A-BC6E-2349D2413AC8}" dt="2025-06-16T11:40:24.280" v="164" actId="1038"/>
          <ac:picMkLst>
            <pc:docMk/>
            <pc:sldMk cId="1738471734" sldId="2147374994"/>
            <ac:picMk id="1026" creationId="{F4A797CC-88DA-959F-47C2-A8141DA8B84E}"/>
          </ac:picMkLst>
        </pc:picChg>
        <pc:picChg chg="add mod">
          <ac:chgData name="Yaniv Benichou" userId="be098413-07c9-459d-baf9-88783eff504c" providerId="ADAL" clId="{0A7AC023-558D-6E4A-BC6E-2349D2413AC8}" dt="2025-06-16T11:40:16.331" v="159" actId="1076"/>
          <ac:picMkLst>
            <pc:docMk/>
            <pc:sldMk cId="1738471734" sldId="2147374994"/>
            <ac:picMk id="1028" creationId="{37E4AD1C-B91F-F12D-8A98-40643BA79B2C}"/>
          </ac:picMkLst>
        </pc:picChg>
      </pc:sldChg>
      <pc:sldChg chg="modSp mod">
        <pc:chgData name="Yaniv Benichou" userId="be098413-07c9-459d-baf9-88783eff504c" providerId="ADAL" clId="{0A7AC023-558D-6E4A-BC6E-2349D2413AC8}" dt="2025-05-27T15:52:29.838" v="110" actId="20577"/>
        <pc:sldMkLst>
          <pc:docMk/>
          <pc:sldMk cId="3087008957" sldId="2147375009"/>
        </pc:sldMkLst>
        <pc:spChg chg="mod">
          <ac:chgData name="Yaniv Benichou" userId="be098413-07c9-459d-baf9-88783eff504c" providerId="ADAL" clId="{0A7AC023-558D-6E4A-BC6E-2349D2413AC8}" dt="2025-05-27T15:52:29.838" v="110" actId="20577"/>
          <ac:spMkLst>
            <pc:docMk/>
            <pc:sldMk cId="3087008957" sldId="2147375009"/>
            <ac:spMk id="15" creationId="{3E803CB2-76DF-4825-A485-54CE2FA0C364}"/>
          </ac:spMkLst>
        </pc:spChg>
      </pc:sldChg>
      <pc:sldChg chg="modSp mod">
        <pc:chgData name="Yaniv Benichou" userId="be098413-07c9-459d-baf9-88783eff504c" providerId="ADAL" clId="{0A7AC023-558D-6E4A-BC6E-2349D2413AC8}" dt="2025-06-16T11:37:10.664" v="128" actId="20577"/>
        <pc:sldMkLst>
          <pc:docMk/>
          <pc:sldMk cId="1158534443" sldId="2147375010"/>
        </pc:sldMkLst>
        <pc:spChg chg="mod">
          <ac:chgData name="Yaniv Benichou" userId="be098413-07c9-459d-baf9-88783eff504c" providerId="ADAL" clId="{0A7AC023-558D-6E4A-BC6E-2349D2413AC8}" dt="2025-05-27T15:52:25.828" v="108" actId="20577"/>
          <ac:spMkLst>
            <pc:docMk/>
            <pc:sldMk cId="1158534443" sldId="2147375010"/>
            <ac:spMk id="8" creationId="{407EAF14-CA48-1B2C-0DB4-6817384F3C51}"/>
          </ac:spMkLst>
        </pc:spChg>
        <pc:spChg chg="mod">
          <ac:chgData name="Yaniv Benichou" userId="be098413-07c9-459d-baf9-88783eff504c" providerId="ADAL" clId="{0A7AC023-558D-6E4A-BC6E-2349D2413AC8}" dt="2025-06-16T11:37:10.664" v="128" actId="20577"/>
          <ac:spMkLst>
            <pc:docMk/>
            <pc:sldMk cId="1158534443" sldId="2147375010"/>
            <ac:spMk id="13" creationId="{ED2FA63E-BB0A-9DB6-FA3B-13A58FCDFE0F}"/>
          </ac:spMkLst>
        </pc:spChg>
      </pc:sldChg>
      <pc:sldChg chg="modSp mod">
        <pc:chgData name="Yaniv Benichou" userId="be098413-07c9-459d-baf9-88783eff504c" providerId="ADAL" clId="{0A7AC023-558D-6E4A-BC6E-2349D2413AC8}" dt="2025-05-27T15:52:33.598" v="112" actId="20577"/>
        <pc:sldMkLst>
          <pc:docMk/>
          <pc:sldMk cId="4015839680" sldId="2147375011"/>
        </pc:sldMkLst>
        <pc:spChg chg="mod">
          <ac:chgData name="Yaniv Benichou" userId="be098413-07c9-459d-baf9-88783eff504c" providerId="ADAL" clId="{0A7AC023-558D-6E4A-BC6E-2349D2413AC8}" dt="2025-05-27T15:52:33.598" v="112" actId="20577"/>
          <ac:spMkLst>
            <pc:docMk/>
            <pc:sldMk cId="4015839680" sldId="2147375011"/>
            <ac:spMk id="5" creationId="{6A16A8AF-7B4B-BB5E-D67B-C63556CA2809}"/>
          </ac:spMkLst>
        </pc:spChg>
      </pc:sldChg>
      <pc:sldChg chg="modSp mod">
        <pc:chgData name="Yaniv Benichou" userId="be098413-07c9-459d-baf9-88783eff504c" providerId="ADAL" clId="{0A7AC023-558D-6E4A-BC6E-2349D2413AC8}" dt="2025-06-16T11:36:58.508" v="124" actId="20577"/>
        <pc:sldMkLst>
          <pc:docMk/>
          <pc:sldMk cId="4109900669" sldId="2147375012"/>
        </pc:sldMkLst>
        <pc:spChg chg="mod">
          <ac:chgData name="Yaniv Benichou" userId="be098413-07c9-459d-baf9-88783eff504c" providerId="ADAL" clId="{0A7AC023-558D-6E4A-BC6E-2349D2413AC8}" dt="2025-05-27T15:52:37.786" v="114" actId="20577"/>
          <ac:spMkLst>
            <pc:docMk/>
            <pc:sldMk cId="4109900669" sldId="2147375012"/>
            <ac:spMk id="5" creationId="{5311DAB3-5A51-2EFF-6409-84F27B14708B}"/>
          </ac:spMkLst>
        </pc:spChg>
        <pc:spChg chg="mod">
          <ac:chgData name="Yaniv Benichou" userId="be098413-07c9-459d-baf9-88783eff504c" providerId="ADAL" clId="{0A7AC023-558D-6E4A-BC6E-2349D2413AC8}" dt="2025-06-16T11:36:58.508" v="124" actId="20577"/>
          <ac:spMkLst>
            <pc:docMk/>
            <pc:sldMk cId="4109900669" sldId="2147375012"/>
            <ac:spMk id="43" creationId="{16350C41-33EE-40E7-80EF-0F7E2F829497}"/>
          </ac:spMkLst>
        </pc:spChg>
        <pc:spChg chg="mod">
          <ac:chgData name="Yaniv Benichou" userId="be098413-07c9-459d-baf9-88783eff504c" providerId="ADAL" clId="{0A7AC023-558D-6E4A-BC6E-2349D2413AC8}" dt="2025-06-16T11:36:49.539" v="116"/>
          <ac:spMkLst>
            <pc:docMk/>
            <pc:sldMk cId="4109900669" sldId="2147375012"/>
            <ac:spMk id="50" creationId="{09E56745-427F-4151-8C3F-020F170F21A1}"/>
          </ac:spMkLst>
        </pc:spChg>
      </pc:sld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339918219" sldId="2147483682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3606307487" sldId="214748368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1967397728" sldId="214748368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2758419255" sldId="214748368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346060979" sldId="214748368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4017191004" sldId="214748368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39918219" sldId="2147483682"/>
            <pc:sldLayoutMk cId="2490427556" sldId="2147483688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1259512767" sldId="2147483689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2351604826" sldId="214748369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2951787658" sldId="214748369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3451993716" sldId="214748369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3184777768" sldId="214748369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453500149" sldId="214748369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582815139" sldId="214748369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909807489" sldId="214748369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3558214190" sldId="214748369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2058091109" sldId="214748369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3747692239" sldId="214748369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1187511074" sldId="214748370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259512767" sldId="2147483689"/>
            <pc:sldLayoutMk cId="2164165239" sldId="2147483701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494558481" sldId="2147483702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149635031" sldId="214748370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3949919246" sldId="214748370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2875420353" sldId="214748370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2946096326" sldId="214748370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2355388900" sldId="214748370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728929328" sldId="214748370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4558481" sldId="2147483702"/>
            <pc:sldLayoutMk cId="2478756655" sldId="2147483709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808160110" sldId="2147483710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612213518" sldId="214748371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2741621866" sldId="214748371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3483559192" sldId="214748371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3172321594" sldId="214748371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220695098" sldId="214748371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808160110" sldId="2147483710"/>
            <pc:sldLayoutMk cId="238643116" sldId="2147483716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151977837" sldId="2147483717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3925615318" sldId="214748371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1576269577" sldId="214748371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1436974316" sldId="214748372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482932289" sldId="214748372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1396349190" sldId="214748372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111152358" sldId="214748372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151977837" sldId="2147483717"/>
            <pc:sldLayoutMk cId="2970120621" sldId="2147483724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1929431227" sldId="2147483725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55253320" sldId="214748372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2737663114" sldId="214748372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1789247275" sldId="214748372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1135117770" sldId="214748372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1401287648" sldId="214748373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3511348813" sldId="214748373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929431227" sldId="2147483725"/>
            <pc:sldLayoutMk cId="2347999515" sldId="2147483732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375367530" sldId="2147483733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2851866011" sldId="214748373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3269564206" sldId="214748373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664205397" sldId="214748373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1651866733" sldId="214748373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1815557056" sldId="214748373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75367530" sldId="2147483733"/>
            <pc:sldLayoutMk cId="3351826558" sldId="2147483739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492204498" sldId="2147483740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492204498" sldId="2147483740"/>
            <pc:sldLayoutMk cId="118336308" sldId="214748374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492204498" sldId="2147483740"/>
            <pc:sldLayoutMk cId="245566356" sldId="214748374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492204498" sldId="2147483740"/>
            <pc:sldLayoutMk cId="1863184313" sldId="214748374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492204498" sldId="2147483740"/>
            <pc:sldLayoutMk cId="1137938668" sldId="2147483744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907531256" sldId="2147483745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3089422000" sldId="214748374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3496774753" sldId="214748374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708059385" sldId="214748374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687650071" sldId="214748374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2897889086" sldId="214748375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2449102647" sldId="214748375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2624796173" sldId="214748375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3107290399" sldId="214748375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904667613" sldId="214748375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2590949451" sldId="214748375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61753839" sldId="214748375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07531256" sldId="2147483745"/>
            <pc:sldLayoutMk cId="196473088" sldId="2147483757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808192900" sldId="2147483758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572911459" sldId="214748375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2866402819" sldId="214748376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471571048" sldId="214748376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2016448319" sldId="214748376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3207454639" sldId="214748376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808192900" sldId="2147483758"/>
            <pc:sldLayoutMk cId="3640194190" sldId="2147483764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886605456" sldId="2147483765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4190534868" sldId="214748376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3853731094" sldId="214748376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1494731453" sldId="214748376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3510473802" sldId="214748376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2052104681" sldId="214748377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86605456" sldId="2147483765"/>
            <pc:sldLayoutMk cId="3519265672" sldId="2147483771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099285599" sldId="2147483772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2498353149" sldId="214748377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604304294" sldId="214748377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250457741" sldId="214748377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3917997815" sldId="214748377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3745399518" sldId="214748377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99285599" sldId="2147483772"/>
            <pc:sldLayoutMk cId="2993792335" sldId="2147483778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083359045" sldId="2147483779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2943377602" sldId="214748378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2243795185" sldId="214748378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4058297601" sldId="214748378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565054006" sldId="214748378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1783015283" sldId="214748378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083359045" sldId="2147483779"/>
            <pc:sldLayoutMk cId="1923116456" sldId="2147483785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717116177" sldId="2147483786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3474989500" sldId="214748378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1848715339" sldId="214748378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736489423" sldId="214748378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4251534894" sldId="214748379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1295466361" sldId="214748379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2683770037" sldId="214748379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3995857922" sldId="214748379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2281121725" sldId="214748379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3502552976" sldId="214748379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70586646" sldId="214748379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3798345049" sldId="214748379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717116177" sldId="2147483786"/>
            <pc:sldLayoutMk cId="11580787" sldId="2147483798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319837201" sldId="2147483799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1232913611" sldId="214748380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4057856102" sldId="214748380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367949013" sldId="214748380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3408998972" sldId="214748380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1752729443" sldId="214748380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319837201" sldId="2147483799"/>
            <pc:sldLayoutMk cId="3214356360" sldId="2147483805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588324264" sldId="2147483806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1182332096" sldId="214748380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2369634359" sldId="214748380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3059647597" sldId="214748380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1740845827" sldId="214748381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3999930184" sldId="214748381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2895982185" sldId="214748381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2058937307" sldId="214748381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3119630963" sldId="214748381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4270050964" sldId="214748381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3791914353" sldId="214748381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2176922580" sldId="214748381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2658611257" sldId="214748381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4023325235" sldId="214748381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588324264" sldId="2147483806"/>
            <pc:sldLayoutMk cId="1842033700" sldId="2147483820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1775446997" sldId="2147483821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2261159569" sldId="214748382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170335087" sldId="214748382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1677271826" sldId="214748382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1595609223" sldId="214748382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2139063366" sldId="214748382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322683718" sldId="214748382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847159171" sldId="214748382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1775446997" sldId="2147483821"/>
            <pc:sldLayoutMk cId="3159560211" sldId="2147483829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3951496213" sldId="2147483830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2757105691" sldId="214748383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2692828248" sldId="214748383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3826591085" sldId="2147483833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720080772" sldId="2147483834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1289982899" sldId="214748383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3951496213" sldId="2147483830"/>
            <pc:sldLayoutMk cId="3566932271" sldId="2147483836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2497017227" sldId="2147483837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2875749265" sldId="214748383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3511195774" sldId="214748383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2067787886" sldId="2147483840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3984174690" sldId="2147483841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294259485" sldId="2147483842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2497017227" sldId="2147483837"/>
            <pc:sldLayoutMk cId="1975233050" sldId="2147483843"/>
          </pc:sldLayoutMkLst>
        </pc:sldLayoutChg>
      </pc:sldMasterChg>
      <pc:sldMasterChg chg="del delSldLayout">
        <pc:chgData name="Yaniv Benichou" userId="be098413-07c9-459d-baf9-88783eff504c" providerId="ADAL" clId="{0A7AC023-558D-6E4A-BC6E-2349D2413AC8}" dt="2025-05-14T14:41:46.825" v="1"/>
        <pc:sldMasterMkLst>
          <pc:docMk/>
          <pc:sldMasterMk cId="819600654" sldId="2147483844"/>
        </pc:sldMasterMkLst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3314536154" sldId="2147483845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2990842756" sldId="2147483846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3748644631" sldId="2147483847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1777847391" sldId="2147483848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966679196" sldId="2147483849"/>
          </pc:sldLayoutMkLst>
        </pc:sldLayoutChg>
        <pc:sldLayoutChg chg="del">
          <pc:chgData name="Yaniv Benichou" userId="be098413-07c9-459d-baf9-88783eff504c" providerId="ADAL" clId="{0A7AC023-558D-6E4A-BC6E-2349D2413AC8}" dt="2025-05-14T14:41:46.825" v="1"/>
          <pc:sldLayoutMkLst>
            <pc:docMk/>
            <pc:sldMasterMk cId="819600654" sldId="2147483844"/>
            <pc:sldLayoutMk cId="564387153" sldId="214748385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8EE3E4-FC60-4CB5-BD5E-414F01D91B2B}" type="datetimeFigureOut">
              <a:rPr lang="fr-FR" smtClean="0"/>
              <a:t>18/07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8032E-293D-4749-8F50-F8D037A87F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17191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0930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5063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331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5071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73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2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2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646464"/>
                </a:solidFill>
                <a:latin typeface="EYInterstate Regular"/>
                <a:cs typeface="Arial" pitchFamily="34" charset="0"/>
                <a:sym typeface="EYInterstate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12" y="5754254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274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54"/>
          <p:cNvSpPr>
            <a:spLocks/>
          </p:cNvSpPr>
          <p:nvPr userDrawn="1"/>
        </p:nvSpPr>
        <p:spPr bwMode="auto">
          <a:xfrm>
            <a:off x="-8088" y="1136121"/>
            <a:ext cx="6507694" cy="2291440"/>
          </a:xfrm>
          <a:custGeom>
            <a:avLst/>
            <a:gdLst>
              <a:gd name="connsiteX0" fmla="*/ 0 w 10398"/>
              <a:gd name="connsiteY0" fmla="*/ 30 h 10000"/>
              <a:gd name="connsiteX1" fmla="*/ 405 w 10398"/>
              <a:gd name="connsiteY1" fmla="*/ 10000 h 10000"/>
              <a:gd name="connsiteX2" fmla="*/ 9677 w 10398"/>
              <a:gd name="connsiteY2" fmla="*/ 9980 h 10000"/>
              <a:gd name="connsiteX3" fmla="*/ 10398 w 10398"/>
              <a:gd name="connsiteY3" fmla="*/ 0 h 10000"/>
              <a:gd name="connsiteX4" fmla="*/ 0 w 10398"/>
              <a:gd name="connsiteY4" fmla="*/ 30 h 10000"/>
              <a:gd name="connsiteX0" fmla="*/ 2 w 10400"/>
              <a:gd name="connsiteY0" fmla="*/ 30 h 10000"/>
              <a:gd name="connsiteX1" fmla="*/ 2 w 10400"/>
              <a:gd name="connsiteY1" fmla="*/ 10000 h 10000"/>
              <a:gd name="connsiteX2" fmla="*/ 9679 w 10400"/>
              <a:gd name="connsiteY2" fmla="*/ 9980 h 10000"/>
              <a:gd name="connsiteX3" fmla="*/ 10400 w 10400"/>
              <a:gd name="connsiteY3" fmla="*/ 0 h 10000"/>
              <a:gd name="connsiteX4" fmla="*/ 2 w 10400"/>
              <a:gd name="connsiteY4" fmla="*/ 3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0" h="10000">
                <a:moveTo>
                  <a:pt x="2" y="30"/>
                </a:moveTo>
                <a:cubicBezTo>
                  <a:pt x="4" y="3350"/>
                  <a:pt x="0" y="6680"/>
                  <a:pt x="2" y="10000"/>
                </a:cubicBezTo>
                <a:lnTo>
                  <a:pt x="9679" y="9980"/>
                </a:lnTo>
                <a:cubicBezTo>
                  <a:pt x="9919" y="6653"/>
                  <a:pt x="10160" y="3327"/>
                  <a:pt x="10400" y="0"/>
                </a:cubicBezTo>
                <a:lnTo>
                  <a:pt x="2" y="3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lIns="79873" tIns="39937" rIns="79873" bIns="39937"/>
          <a:lstStyle/>
          <a:p>
            <a:pPr defTabSz="906718" fontAlgn="base">
              <a:spcBef>
                <a:spcPct val="0"/>
              </a:spcBef>
              <a:spcAft>
                <a:spcPct val="30000"/>
              </a:spcAft>
            </a:pPr>
            <a:endParaRPr lang="en-GB" sz="700" dirty="0">
              <a:solidFill>
                <a:srgbClr val="FFFFFF"/>
              </a:solidFill>
              <a:latin typeface="EYInterstate Regular"/>
              <a:sym typeface="EYInterstate"/>
            </a:endParaRPr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562045" y="1336361"/>
            <a:ext cx="5355364" cy="173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869437" fontAlgn="base">
              <a:spcBef>
                <a:spcPct val="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pitchFamily="34" charset="-128"/>
              <a:buNone/>
            </a:pPr>
            <a: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  <a:t>Cette proposition a été établie sur la base des besoins et informations que vous nous avez communiqués, par référence à votre contexte et en fonction de l'environnement juridique et économique actuel. </a:t>
            </a:r>
          </a:p>
          <a:p>
            <a:pPr defTabSz="869437" fontAlgn="base">
              <a:spcBef>
                <a:spcPct val="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pitchFamily="34" charset="-128"/>
              <a:buNone/>
            </a:pPr>
            <a: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  <a:t>Dans ce cadre, le contenu constitue notre réponse originale élaborée à partir de nos méthodes, processus, techniques et savoir faire. De ce fait, le contenu, ainsi que le support est notre propriété.</a:t>
            </a:r>
          </a:p>
          <a:p>
            <a:pPr defTabSz="869437" fontAlgn="base">
              <a:spcBef>
                <a:spcPct val="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pitchFamily="34" charset="-128"/>
              <a:buNone/>
            </a:pPr>
            <a: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  <a:t>Cette proposition réservée à votre seul usage interne, tant dans sa forme que son contenu, est confidentielle. </a:t>
            </a:r>
            <a:b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</a:br>
            <a: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  <a:t>Elle ne peut être divulguée à des tiers qu’avec notre accord. </a:t>
            </a:r>
          </a:p>
          <a:p>
            <a:pPr defTabSz="869437" fontAlgn="base">
              <a:spcBef>
                <a:spcPct val="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pitchFamily="34" charset="-128"/>
              <a:buNone/>
            </a:pPr>
            <a:r>
              <a:rPr lang="fr-FR" sz="1000" dirty="0">
                <a:solidFill>
                  <a:prstClr val="black"/>
                </a:solidFill>
                <a:latin typeface="EYInterstate Regular" panose="02000503020000020004" pitchFamily="2" charset="0"/>
              </a:rPr>
              <a:t>Ernst &amp; Young est une marque déposée au niveau mondial.</a:t>
            </a:r>
            <a:endParaRPr lang="en-GB" sz="1000" dirty="0">
              <a:solidFill>
                <a:prstClr val="black"/>
              </a:solidFill>
              <a:latin typeface="EYInterstate Regular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1148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Regular"/>
                <a:ea typeface="+mn-ea"/>
                <a:cs typeface="Arial" pitchFamily="34" charset="0"/>
                <a:sym typeface="EYInterstate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Regular"/>
                <a:ea typeface="+mn-ea"/>
                <a:cs typeface="Arial" pitchFamily="34" charset="0"/>
                <a:sym typeface="EYInterstate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Regular"/>
                <a:ea typeface="+mn-ea"/>
                <a:cs typeface="Arial" pitchFamily="34" charset="0"/>
                <a:sym typeface="EYInterstate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Regular"/>
                <a:ea typeface="+mn-ea"/>
                <a:cs typeface="Arial" pitchFamily="34" charset="0"/>
                <a:sym typeface="EYInterstate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Regular"/>
                <a:ea typeface="+mn-ea"/>
                <a:cs typeface="Arial" pitchFamily="34" charset="0"/>
                <a:sym typeface="EYInterstate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9914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285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 bwMode="gray">
          <a:xfrm>
            <a:off x="507699" y="1337623"/>
            <a:ext cx="8117745" cy="483357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7705" y="643617"/>
            <a:ext cx="8116387" cy="55507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 bwMode="gray">
          <a:xfrm>
            <a:off x="4452633" y="6372036"/>
            <a:ext cx="573112" cy="1531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80780" rt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457120" algn="ctr" rt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2pPr>
            <a:lvl3pPr marL="914239" algn="ctr" rt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3pPr>
            <a:lvl4pPr marL="1371358" algn="ctr" rt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4pPr>
            <a:lvl5pPr marL="1828477" algn="ctr" rt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5pPr>
            <a:lvl6pPr marL="2285597" algn="l" defTabSz="914239" rtl="0" eaLnBrk="1" latinLnBrk="0" hangingPunct="1"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6pPr>
            <a:lvl7pPr marL="2742716" algn="l" defTabSz="914239" rtl="0" eaLnBrk="1" latinLnBrk="0" hangingPunct="1"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7pPr>
            <a:lvl8pPr marL="3199836" algn="l" defTabSz="914239" rtl="0" eaLnBrk="1" latinLnBrk="0" hangingPunct="1"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8pPr>
            <a:lvl9pPr marL="3656954" algn="l" defTabSz="914239" rtl="0" eaLnBrk="1" latinLnBrk="0" hangingPunct="1">
              <a:defRPr sz="1100" kern="1200">
                <a:solidFill>
                  <a:srgbClr val="010024"/>
                </a:solidFill>
                <a:latin typeface="EYInterstate Regular" pitchFamily="2" charset="0"/>
                <a:ea typeface="+mn-ea"/>
                <a:cs typeface="+mn-cs"/>
              </a:defRPr>
            </a:lvl9pPr>
          </a:lstStyle>
          <a:p>
            <a:fld id="{FA2CEC46-CB4C-4F70-9872-2730F63A6253}" type="slidenum">
              <a:rPr lang="fr-FR" sz="599" smtClean="0">
                <a:solidFill>
                  <a:srgbClr val="000000">
                    <a:tint val="75000"/>
                  </a:srgbClr>
                </a:solidFill>
                <a:latin typeface="EYInterstate Regular" panose="02000503020000020004" pitchFamily="2" charset="0"/>
                <a:sym typeface="EYInterstate" panose="02000503020000020004" pitchFamily="2" charset="0"/>
              </a:rPr>
              <a:pPr/>
              <a:t>‹N°›</a:t>
            </a:fld>
            <a:endParaRPr lang="fr-FR" sz="599" dirty="0">
              <a:solidFill>
                <a:srgbClr val="000000">
                  <a:tint val="75000"/>
                </a:srgbClr>
              </a:solidFill>
              <a:latin typeface="EYInterstate Regular" panose="02000503020000020004" pitchFamily="2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4386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46748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32800" y="777600"/>
            <a:ext cx="5490000" cy="860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800" y="1753200"/>
            <a:ext cx="5490000" cy="968400"/>
          </a:xfrm>
        </p:spPr>
        <p:txBody>
          <a:bodyPr/>
          <a:lstStyle>
            <a:lvl1pPr marL="0" indent="0" algn="l">
              <a:buNone/>
              <a:defRPr sz="1847">
                <a:solidFill>
                  <a:schemeClr val="bg2"/>
                </a:solidFill>
              </a:defRPr>
            </a:lvl1pPr>
            <a:lvl2pPr marL="0" indent="0" algn="l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90502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356748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03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7816"/>
            <a:ext cx="8229600" cy="607992"/>
          </a:xfrm>
        </p:spPr>
        <p:txBody>
          <a:bodyPr anchor="b"/>
          <a:lstStyle>
            <a:lvl1pPr>
              <a:defRPr sz="2031"/>
            </a:lvl1pPr>
          </a:lstStyle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7412"/>
            <a:ext cx="8229600" cy="488914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796566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pic>
        <p:nvPicPr>
          <p:cNvPr id="10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0195" y="6276113"/>
            <a:ext cx="331589" cy="517602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N°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21173537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70814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pic>
        <p:nvPicPr>
          <p:cNvPr id="4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2450" y="5881599"/>
            <a:ext cx="503540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TextBox 7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N°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18353309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71489" y="327030"/>
            <a:ext cx="8064500" cy="56626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 dirty="0"/>
          </a:p>
        </p:txBody>
      </p:sp>
      <p:pic>
        <p:nvPicPr>
          <p:cNvPr id="5" name="logo_gris.png" descr="logo_gri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2450" y="5881599"/>
            <a:ext cx="503540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TextBox 7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N°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Présentation de détection</a:t>
            </a:r>
          </a:p>
        </p:txBody>
      </p:sp>
    </p:spTree>
    <p:extLst>
      <p:ext uri="{BB962C8B-B14F-4D97-AF65-F5344CB8AC3E}">
        <p14:creationId xmlns:p14="http://schemas.microsoft.com/office/powerpoint/2010/main" val="13236786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40438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pic>
        <p:nvPicPr>
          <p:cNvPr id="6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2450" y="5881599"/>
            <a:ext cx="503540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11" name="TextBox 10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N°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2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3470891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de diapositiva"/>
          <p:cNvSpPr>
            <a:spLocks noGrp="1"/>
          </p:cNvSpPr>
          <p:nvPr>
            <p:ph type="body" sz="quarter" idx="14"/>
          </p:nvPr>
        </p:nvSpPr>
        <p:spPr>
          <a:xfrm>
            <a:off x="312666" y="88000"/>
            <a:ext cx="5075310" cy="653047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3200"/>
              </a:lnSpc>
              <a:defRPr sz="2400" spc="-144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En experiencia de cliente el concepto Small Data es fundamental."/>
          <p:cNvSpPr>
            <a:spLocks noGrp="1"/>
          </p:cNvSpPr>
          <p:nvPr>
            <p:ph type="body" sz="quarter" idx="15"/>
          </p:nvPr>
        </p:nvSpPr>
        <p:spPr>
          <a:xfrm>
            <a:off x="312282" y="809975"/>
            <a:ext cx="3853319" cy="32512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defRPr sz="1000" spc="-39">
                <a:solidFill>
                  <a:srgbClr val="808080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En un mundo digital, el concepto de Small Data es cada vez más importante"/>
          <p:cNvSpPr>
            <a:spLocks noGrp="1"/>
          </p:cNvSpPr>
          <p:nvPr>
            <p:ph type="body" sz="quarter" idx="16"/>
          </p:nvPr>
        </p:nvSpPr>
        <p:spPr>
          <a:xfrm>
            <a:off x="315842" y="1269100"/>
            <a:ext cx="4649860" cy="812880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2000"/>
              </a:lnSpc>
              <a:defRPr sz="2000" spc="-120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No te debes quedar sólo en lo superficial, además del Big Data, necesitas entender el por qué de las cosas, profundizar en los detalles, entender las emociones……"/>
          <p:cNvSpPr>
            <a:spLocks noGrp="1"/>
          </p:cNvSpPr>
          <p:nvPr>
            <p:ph type="body" sz="quarter" idx="17"/>
          </p:nvPr>
        </p:nvSpPr>
        <p:spPr>
          <a:xfrm>
            <a:off x="317500" y="2291641"/>
            <a:ext cx="3619500" cy="1609393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900" spc="-36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lvl="1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  <a:p>
            <a:pPr lvl="2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Third level</a:t>
            </a:r>
          </a:p>
        </p:txBody>
      </p:sp>
      <p:sp>
        <p:nvSpPr>
          <p:cNvPr id="32" name="No te debes quedar sólo en lo superficial, además del Big Data, necesitas entender el por qué de las cosas, profundizar en los detalles, entender las emociones…"/>
          <p:cNvSpPr>
            <a:spLocks noGrp="1"/>
          </p:cNvSpPr>
          <p:nvPr>
            <p:ph type="body" sz="quarter" idx="18"/>
          </p:nvPr>
        </p:nvSpPr>
        <p:spPr>
          <a:xfrm>
            <a:off x="317500" y="4110693"/>
            <a:ext cx="3619500" cy="73156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unto 1…"/>
          <p:cNvSpPr>
            <a:spLocks noGrp="1"/>
          </p:cNvSpPr>
          <p:nvPr>
            <p:ph type="body" sz="quarter" idx="19"/>
          </p:nvPr>
        </p:nvSpPr>
        <p:spPr>
          <a:xfrm>
            <a:off x="317501" y="4960338"/>
            <a:ext cx="1902127" cy="399468"/>
          </a:xfrm>
          <a:prstGeom prst="rect">
            <a:avLst/>
          </a:prstGeom>
        </p:spPr>
        <p:txBody>
          <a:bodyPr lIns="50800" tIns="50800" rIns="50800" bIns="50800">
            <a:spAutoFit/>
          </a:bodyPr>
          <a:lstStyle>
            <a:lvl1pPr marL="126997" indent="-126997" algn="l" defTabSz="457189">
              <a:lnSpc>
                <a:spcPts val="1200"/>
              </a:lnSpc>
              <a:spcBef>
                <a:spcPts val="700"/>
              </a:spcBef>
              <a:buClr>
                <a:srgbClr val="FFD200"/>
              </a:buClr>
              <a:buSzPct val="140000"/>
              <a:buChar char="▪"/>
              <a:defRPr sz="750" spc="-2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marL="95250" lvl="0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marL="95250" lvl="1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</p:txBody>
      </p:sp>
      <p:pic>
        <p:nvPicPr>
          <p:cNvPr id="10" name="logo_gris.png" descr="logo_gri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2521" y="6281847"/>
            <a:ext cx="331589" cy="517601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N°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Improvement Solutions – BP ACA – Rapport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 de détection</a:t>
            </a:r>
          </a:p>
        </p:txBody>
      </p:sp>
    </p:spTree>
    <p:extLst>
      <p:ext uri="{BB962C8B-B14F-4D97-AF65-F5344CB8AC3E}">
        <p14:creationId xmlns:p14="http://schemas.microsoft.com/office/powerpoint/2010/main" val="229630750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29544"/>
            <a:ext cx="8229600" cy="489503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>
              <a:defRPr sz="14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2pPr>
            <a:lvl3pPr>
              <a:defRPr sz="14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3pPr>
            <a:lvl4pPr>
              <a:defRPr sz="14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4pPr>
            <a:lvl5pPr>
              <a:defRPr sz="14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8800909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705648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 txBox="1">
            <a:spLocks/>
          </p:cNvSpPr>
          <p:nvPr/>
        </p:nvSpPr>
        <p:spPr>
          <a:xfrm>
            <a:off x="2179098" y="6417357"/>
            <a:ext cx="4785808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EY Revenue </a:t>
            </a:r>
            <a:r>
              <a:rPr lang="en-GB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Improvement</a:t>
            </a:r>
            <a:r>
              <a:rPr lang="fr-FR" sz="750" dirty="0">
                <a:solidFill>
                  <a:srgbClr val="808080"/>
                </a:solidFill>
                <a:latin typeface="EYInterstate Regular" panose="02000503020000020004" pitchFamily="2" charset="0"/>
              </a:rPr>
              <a:t>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 Regular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3443834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  <p15:guide id="2" pos="257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2168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4"/>
            <a:ext cx="4038600" cy="4698111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2pPr>
            <a:lvl3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3pPr>
            <a:lvl4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4pPr>
            <a:lvl5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4"/>
            <a:ext cx="4038600" cy="4698111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2pPr>
            <a:lvl3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3pPr>
            <a:lvl4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4pPr>
            <a:lvl5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4207807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1820"/>
            <a:ext cx="4042800" cy="3994963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2pPr>
            <a:lvl3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3pPr>
            <a:lvl4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4pPr>
            <a:lvl5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31820"/>
            <a:ext cx="4042800" cy="3994963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2pPr>
            <a:lvl3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3pPr>
            <a:lvl4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4pPr>
            <a:lvl5pPr>
              <a:defRPr sz="1100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</p:spPr>
        <p:txBody>
          <a:bodyPr anchor="t" anchorCtr="0"/>
          <a:lstStyle>
            <a:lvl1pPr marL="0" indent="0">
              <a:buNone/>
              <a:defRPr sz="1100" b="1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</p:spPr>
        <p:txBody>
          <a:bodyPr anchor="t" anchorCtr="0"/>
          <a:lstStyle>
            <a:lvl1pPr marL="0" indent="0">
              <a:buNone/>
              <a:defRPr sz="1100" b="1"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61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28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EYInterstate Regular"/>
                <a:cs typeface="Arial" pitchFamily="34" charset="0"/>
                <a:sym typeface="EYInterstate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62034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EYInterstate Regular"/>
                <a:cs typeface="Arial" pitchFamily="34" charset="0"/>
                <a:sym typeface="EYInterstate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2158599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4"/>
          <p:cNvGrpSpPr>
            <a:grpSpLocks noChangeAspect="1"/>
          </p:cNvGrpSpPr>
          <p:nvPr userDrawn="1"/>
        </p:nvGrpSpPr>
        <p:grpSpPr bwMode="auto">
          <a:xfrm>
            <a:off x="3" y="0"/>
            <a:ext cx="3502025" cy="1182688"/>
            <a:chOff x="-1055" y="2405319"/>
            <a:chExt cx="9145054" cy="3346232"/>
          </a:xfrm>
        </p:grpSpPr>
        <p:sp>
          <p:nvSpPr>
            <p:cNvPr id="6" name="Freeform 15"/>
            <p:cNvSpPr>
              <a:spLocks/>
            </p:cNvSpPr>
            <p:nvPr userDrawn="1"/>
          </p:nvSpPr>
          <p:spPr bwMode="gray">
            <a:xfrm>
              <a:off x="2273866" y="2405319"/>
              <a:ext cx="6870133" cy="2494990"/>
            </a:xfrm>
            <a:custGeom>
              <a:avLst/>
              <a:gdLst>
                <a:gd name="T0" fmla="*/ 0 w 5081"/>
                <a:gd name="T1" fmla="*/ 2147483647 h 1852"/>
                <a:gd name="T2" fmla="*/ 2147483647 w 5081"/>
                <a:gd name="T3" fmla="*/ 0 h 1852"/>
                <a:gd name="T4" fmla="*/ 2147483647 w 5081"/>
                <a:gd name="T5" fmla="*/ 2147483647 h 1852"/>
                <a:gd name="T6" fmla="*/ 0 w 5081"/>
                <a:gd name="T7" fmla="*/ 2147483647 h 185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896938" fontAlgn="base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srgbClr val="000000"/>
                </a:solidFill>
                <a:latin typeface="EYInterstate Regular"/>
                <a:ea typeface="ＭＳ Ｐゴシック" pitchFamily="34" charset="-128"/>
                <a:sym typeface="EYInterstate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55" y="4411633"/>
              <a:ext cx="2285060" cy="1339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8"/>
          <p:cNvGrpSpPr/>
          <p:nvPr userDrawn="1"/>
        </p:nvGrpSpPr>
        <p:grpSpPr bwMode="gray">
          <a:xfrm>
            <a:off x="912269" y="1026420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EYInterstate Regular"/>
                <a:ea typeface="MS PGothic" pitchFamily="34" charset="-128"/>
                <a:sym typeface="EYInterstate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  <a:latin typeface="EYInterstate Regular"/>
                <a:ea typeface="MS PGothic" pitchFamily="34" charset="-128"/>
                <a:sym typeface="EYInterstat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6893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1343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4025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6409944"/>
            <a:ext cx="722376" cy="2011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00" dirty="0">
                <a:solidFill>
                  <a:srgbClr val="646464"/>
                </a:solidFill>
                <a:latin typeface="EYInterstate Regular"/>
                <a:cs typeface="Arial" pitchFamily="34" charset="0"/>
                <a:sym typeface="EYInterstate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latin typeface="EYInterstate Regular"/>
                <a:cs typeface="Arial" pitchFamily="34" charset="0"/>
                <a:sym typeface="EYInterstate"/>
              </a:rPr>
              <a:pPr/>
              <a:t>‹N°›</a:t>
            </a:fld>
            <a:endParaRPr lang="en-GB" sz="1100" dirty="0">
              <a:solidFill>
                <a:srgbClr val="646464"/>
              </a:solidFill>
              <a:latin typeface="EYInterstate Regular"/>
              <a:cs typeface="Arial" pitchFamily="34" charset="0"/>
              <a:sym typeface="EYInterstate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8348663" y="6450013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646464"/>
                </a:solidFill>
                <a:latin typeface="EYInterstate Regular"/>
                <a:cs typeface="Arial" pitchFamily="34" charset="0"/>
                <a:sym typeface="EYInterstate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646464"/>
                </a:solidFill>
                <a:latin typeface="EYInterstate Regular"/>
                <a:cs typeface="Arial" pitchFamily="34" charset="0"/>
                <a:sym typeface="EYInterstate"/>
              </a:endParaRPr>
            </a:p>
          </p:txBody>
        </p:sp>
      </p:grpSp>
      <p:sp>
        <p:nvSpPr>
          <p:cNvPr id="13" name="Text Box 16"/>
          <p:cNvSpPr txBox="1">
            <a:spLocks noChangeArrowheads="1"/>
          </p:cNvSpPr>
          <p:nvPr userDrawn="1"/>
        </p:nvSpPr>
        <p:spPr bwMode="gray">
          <a:xfrm>
            <a:off x="454025" y="6575762"/>
            <a:ext cx="82359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fr-FR" sz="800" dirty="0">
                <a:solidFill>
                  <a:srgbClr val="646464"/>
                </a:solidFill>
                <a:latin typeface="EYInterstate Regular" panose="02000503020000020004" pitchFamily="2" charset="0"/>
                <a:cs typeface="Times New Roman" pitchFamily="18" charset="0"/>
                <a:sym typeface="EYInterstate" panose="02000503020000020004" pitchFamily="2" charset="0"/>
              </a:rPr>
              <a:t>© 2016 Propriété d’Ernst &amp; Young Advisory – Confidentiel. </a:t>
            </a:r>
            <a:br>
              <a:rPr lang="fr-FR" sz="800" dirty="0">
                <a:solidFill>
                  <a:srgbClr val="646464"/>
                </a:solidFill>
                <a:latin typeface="EYInterstate Regular" panose="02000503020000020004" pitchFamily="2" charset="0"/>
                <a:cs typeface="Times New Roman" pitchFamily="18" charset="0"/>
                <a:sym typeface="EYInterstate" panose="02000503020000020004" pitchFamily="2" charset="0"/>
              </a:rPr>
            </a:br>
            <a:r>
              <a:rPr lang="fr-FR" sz="800" dirty="0">
                <a:solidFill>
                  <a:srgbClr val="646464"/>
                </a:solidFill>
                <a:latin typeface="EYInterstate Regular" panose="02000503020000020004" pitchFamily="2" charset="0"/>
                <a:cs typeface="Times New Roman" pitchFamily="18" charset="0"/>
                <a:sym typeface="EYInterstate" panose="02000503020000020004" pitchFamily="2" charset="0"/>
              </a:rPr>
              <a:t>Cette proposition de services, à votre seul usage interne, est indissociable des éléments de contexte qui ont permis de l’établir.</a:t>
            </a:r>
            <a:r>
              <a:rPr lang="en-US" sz="800" dirty="0">
                <a:solidFill>
                  <a:srgbClr val="646464"/>
                </a:solidFill>
                <a:latin typeface="EYInterstate Regular" panose="02000503020000020004" pitchFamily="2" charset="0"/>
                <a:cs typeface="Times New Roman" pitchFamily="18" charset="0"/>
                <a:sym typeface="EYInterstate" panose="02000503020000020004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9115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EYInterstate Regular"/>
          <a:ea typeface="+mj-ea"/>
          <a:cs typeface="Arial" pitchFamily="34" charset="0"/>
          <a:sym typeface="EYInterstate"/>
        </a:defRPr>
      </a:lvl1pPr>
    </p:titleStyle>
    <p:bodyStyle>
      <a:lvl1pPr marL="342900" indent="-342900" algn="just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Regular"/>
          <a:ea typeface="+mn-ea"/>
          <a:cs typeface="Arial" pitchFamily="34" charset="0"/>
          <a:sym typeface="EYInterstate"/>
        </a:defRPr>
      </a:lvl1pPr>
      <a:lvl2pPr marL="709613" indent="-354013" algn="just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Regular"/>
          <a:ea typeface="+mn-ea"/>
          <a:cs typeface="Arial" pitchFamily="34" charset="0"/>
          <a:sym typeface="EYInterstate"/>
        </a:defRPr>
      </a:lvl2pPr>
      <a:lvl3pPr marL="1077913" indent="-354013" algn="just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Regular"/>
          <a:ea typeface="+mn-ea"/>
          <a:cs typeface="Arial" pitchFamily="34" charset="0"/>
          <a:sym typeface="EYInterstate"/>
        </a:defRPr>
      </a:lvl3pPr>
      <a:lvl4pPr marL="1433513" indent="-355600" algn="just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Regular"/>
          <a:ea typeface="+mn-ea"/>
          <a:cs typeface="Arial" pitchFamily="34" charset="0"/>
          <a:sym typeface="EYInterstate"/>
        </a:defRPr>
      </a:lvl4pPr>
      <a:lvl5pPr marL="1787525" indent="-354013" algn="just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Regular"/>
          <a:ea typeface="+mn-ea"/>
          <a:cs typeface="Arial" pitchFamily="34" charset="0"/>
          <a:sym typeface="EYInterstate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326202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30" imgH="531" progId="TCLayout.ActiveDocument.1">
                  <p:embed/>
                </p:oleObj>
              </mc:Choice>
              <mc:Fallback>
                <p:oleObj name="think-cell Slide" r:id="rId11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6" name="Línea"/>
          <p:cNvSpPr/>
          <p:nvPr/>
        </p:nvSpPr>
        <p:spPr>
          <a:xfrm>
            <a:off x="260351" y="736601"/>
            <a:ext cx="8623301" cy="1"/>
          </a:xfrm>
          <a:prstGeom prst="line">
            <a:avLst/>
          </a:prstGeom>
          <a:ln w="3175">
            <a:solidFill>
              <a:srgbClr val="C0C0C0"/>
            </a:solidFill>
          </a:ln>
        </p:spPr>
        <p:txBody>
          <a:bodyPr lIns="45719" rIns="45719"/>
          <a:lstStyle/>
          <a:p>
            <a:pPr defTabSz="457189" eaLnBrk="1" hangingPunct="0">
              <a:defRPr>
                <a:latin typeface="Calibri"/>
                <a:ea typeface="Calibri"/>
                <a:cs typeface="Calibri"/>
                <a:sym typeface="Calibri"/>
              </a:defRPr>
            </a:pPr>
            <a:endParaRPr lang="fr-FR" sz="18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6847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xStyles>
    <p:titleStyle>
      <a:lvl1pPr algn="l" defTabSz="844083" rtl="0" eaLnBrk="1" latinLnBrk="0" hangingPunct="1">
        <a:lnSpc>
          <a:spcPct val="85000"/>
        </a:lnSpc>
        <a:spcBef>
          <a:spcPct val="0"/>
        </a:spcBef>
        <a:buNone/>
        <a:defRPr sz="2769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216" kern="1200">
          <a:solidFill>
            <a:schemeClr val="bg1"/>
          </a:solidFill>
          <a:latin typeface="+mn-lt"/>
          <a:ea typeface="+mn-ea"/>
          <a:cs typeface="+mn-cs"/>
        </a:defRPr>
      </a:lvl1pPr>
      <a:lvl2pPr marL="655044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47" kern="1200">
          <a:solidFill>
            <a:schemeClr val="bg1"/>
          </a:solidFill>
          <a:latin typeface="+mn-lt"/>
          <a:ea typeface="+mn-ea"/>
          <a:cs typeface="+mn-cs"/>
        </a:defRPr>
      </a:lvl2pPr>
      <a:lvl3pPr marL="995021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61" kern="1200">
          <a:solidFill>
            <a:schemeClr val="bg1"/>
          </a:solidFill>
          <a:latin typeface="+mn-lt"/>
          <a:ea typeface="+mn-ea"/>
          <a:cs typeface="+mn-cs"/>
        </a:defRPr>
      </a:lvl3pPr>
      <a:lvl4pPr marL="1323276" indent="-328254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77" kern="1200">
          <a:solidFill>
            <a:schemeClr val="bg1"/>
          </a:solidFill>
          <a:latin typeface="+mn-lt"/>
          <a:ea typeface="+mn-ea"/>
          <a:cs typeface="+mn-cs"/>
        </a:defRPr>
      </a:lvl4pPr>
      <a:lvl5pPr marL="1650065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77" kern="1200">
          <a:solidFill>
            <a:schemeClr val="bg1"/>
          </a:solidFill>
          <a:latin typeface="+mn-lt"/>
          <a:ea typeface="+mn-ea"/>
          <a:cs typeface="+mn-cs"/>
        </a:defRPr>
      </a:lvl5pPr>
      <a:lvl6pPr marL="232122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6" Type="http://schemas.openxmlformats.org/officeDocument/2006/relationships/image" Target="../media/image1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6" Type="http://schemas.openxmlformats.org/officeDocument/2006/relationships/image" Target="../media/image1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6" Type="http://schemas.openxmlformats.org/officeDocument/2006/relationships/image" Target="../media/image1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9DC1329-E2F6-4E0F-9C18-DBEF46925351}"/>
              </a:ext>
            </a:extLst>
          </p:cNvPr>
          <p:cNvSpPr/>
          <p:nvPr/>
        </p:nvSpPr>
        <p:spPr>
          <a:xfrm>
            <a:off x="0" y="2068531"/>
            <a:ext cx="2460400" cy="2876773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>
              <a:defRPr/>
            </a:pPr>
            <a:endParaRPr lang="fr-FR" sz="900">
              <a:solidFill>
                <a:srgbClr val="808080"/>
              </a:solidFill>
              <a:latin typeface="EYInterstate Light"/>
            </a:endParaRPr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68D13AD6-2B82-43A4-A821-6D439803604B}"/>
              </a:ext>
            </a:extLst>
          </p:cNvPr>
          <p:cNvSpPr txBox="1">
            <a:spLocks/>
          </p:cNvSpPr>
          <p:nvPr/>
        </p:nvSpPr>
        <p:spPr>
          <a:xfrm>
            <a:off x="140016" y="2684498"/>
            <a:ext cx="2067432" cy="214313"/>
          </a:xfrm>
          <a:prstGeom prst="rect">
            <a:avLst/>
          </a:prstGeom>
        </p:spPr>
        <p:txBody>
          <a:bodyPr lIns="0"/>
          <a:lstStyle>
            <a:lvl1pPr marL="0" marR="0" indent="0" algn="l" defTabSz="412544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4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Bold" panose="0200080303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309408">
              <a:defRPr/>
            </a:pPr>
            <a:r>
              <a:rPr lang="fr-FR" sz="1100" kern="0" dirty="0" err="1"/>
              <a:t>Yaniv</a:t>
            </a:r>
            <a:r>
              <a:rPr lang="fr-FR" sz="1100" kern="0" dirty="0"/>
              <a:t> Benichou</a:t>
            </a:r>
          </a:p>
        </p:txBody>
      </p:sp>
      <p:sp>
        <p:nvSpPr>
          <p:cNvPr id="25" name="Text Placeholder 80">
            <a:extLst>
              <a:ext uri="{FF2B5EF4-FFF2-40B4-BE49-F238E27FC236}">
                <a16:creationId xmlns:a16="http://schemas.microsoft.com/office/drawing/2014/main" id="{EE99B80D-CC05-4485-8CBD-761CA7543D22}"/>
              </a:ext>
            </a:extLst>
          </p:cNvPr>
          <p:cNvSpPr txBox="1">
            <a:spLocks/>
          </p:cNvSpPr>
          <p:nvPr/>
        </p:nvSpPr>
        <p:spPr>
          <a:xfrm>
            <a:off x="140015" y="2986126"/>
            <a:ext cx="2209275" cy="369275"/>
          </a:xfrm>
          <a:prstGeom prst="rect">
            <a:avLst/>
          </a:prstGeom>
        </p:spPr>
        <p:txBody>
          <a:bodyPr lIns="0"/>
          <a:lstStyle>
            <a:lvl1pPr marL="0" marR="0" indent="0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1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Bold" panose="0200080303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309408">
              <a:spcBef>
                <a:spcPts val="2212"/>
              </a:spcBef>
              <a:defRPr/>
            </a:pPr>
            <a:r>
              <a:rPr lang="fr-FR" sz="899" kern="0" dirty="0"/>
              <a:t>Senior – Data &amp; Analytics</a:t>
            </a:r>
            <a:endParaRPr lang="fr-FR" sz="899" kern="0" dirty="0">
              <a:highlight>
                <a:srgbClr val="FF0000"/>
              </a:highlight>
            </a:endParaRPr>
          </a:p>
        </p:txBody>
      </p:sp>
      <p:sp>
        <p:nvSpPr>
          <p:cNvPr id="27" name="Text Placeholder 82">
            <a:extLst>
              <a:ext uri="{FF2B5EF4-FFF2-40B4-BE49-F238E27FC236}">
                <a16:creationId xmlns:a16="http://schemas.microsoft.com/office/drawing/2014/main" id="{D382DA2A-B1E2-4B72-A602-045D27E7D93C}"/>
              </a:ext>
            </a:extLst>
          </p:cNvPr>
          <p:cNvSpPr txBox="1">
            <a:spLocks/>
          </p:cNvSpPr>
          <p:nvPr/>
        </p:nvSpPr>
        <p:spPr>
          <a:xfrm>
            <a:off x="280032" y="3393871"/>
            <a:ext cx="2069259" cy="465264"/>
          </a:xfrm>
          <a:prstGeom prst="rect">
            <a:avLst/>
          </a:prstGeom>
          <a:ln w="19050">
            <a:noFill/>
          </a:ln>
        </p:spPr>
        <p:txBody>
          <a:bodyPr lIns="0"/>
          <a:lstStyle>
            <a:lvl1pPr marL="342729" marR="0" indent="-342729" algn="l" defTabSz="412544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25000"/>
              <a:buFont typeface="Arial" charset="0"/>
              <a:buChar char="•"/>
              <a:tabLst/>
              <a:defRPr sz="11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Light" panose="0200050600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87313" lvl="0" indent="0" defTabSz="987020">
              <a:spcAft>
                <a:spcPts val="284"/>
              </a:spcAft>
              <a:buNone/>
              <a:tabLst>
                <a:tab pos="207319" algn="l"/>
              </a:tabLst>
              <a:defRPr/>
            </a:pPr>
            <a:r>
              <a:rPr lang="sk-SK" altLang="x-none" sz="900" b="0" dirty="0">
                <a:ea typeface="EYInterstate Light" charset="0"/>
                <a:cs typeface="EYInterstate Light" charset="0"/>
              </a:rPr>
              <a:t>+33 1 46 93 45 63</a:t>
            </a:r>
          </a:p>
          <a:p>
            <a:pPr marL="87313" lvl="0" indent="0" defTabSz="987020">
              <a:spcAft>
                <a:spcPts val="284"/>
              </a:spcAft>
              <a:buNone/>
              <a:tabLst>
                <a:tab pos="207319" algn="l"/>
              </a:tabLst>
              <a:defRPr/>
            </a:pPr>
            <a:r>
              <a:rPr kumimoji="0" lang="fr-FR" altLang="x-none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EYInterstate Light" charset="0"/>
                <a:cs typeface="EYInterstate Light" charset="0"/>
              </a:rPr>
              <a:t>yaniv.benichou</a:t>
            </a:r>
            <a:r>
              <a:rPr lang="fr-FR" altLang="x-none" sz="900" b="0" dirty="0">
                <a:solidFill>
                  <a:schemeClr val="tx1"/>
                </a:solidFill>
                <a:ea typeface="EYInterstate Light" charset="0"/>
                <a:cs typeface="EYInterstate Light" charset="0"/>
              </a:rPr>
              <a:t>@fr.ey.com</a:t>
            </a:r>
            <a:endParaRPr lang="pt-BR" altLang="x-none" sz="900" b="0" dirty="0">
              <a:solidFill>
                <a:schemeClr val="tx1"/>
              </a:solidFill>
              <a:ea typeface="EYInterstate Light" charset="0"/>
              <a:cs typeface="EYInterstate Light" charset="0"/>
            </a:endParaRPr>
          </a:p>
          <a:p>
            <a:pPr lvl="0" defTabSz="987020">
              <a:spcAft>
                <a:spcPts val="284"/>
              </a:spcAft>
              <a:tabLst>
                <a:tab pos="207319" algn="l"/>
              </a:tabLst>
              <a:defRPr/>
            </a:pPr>
            <a:endParaRPr lang="fr-FR" sz="899" kern="0" dirty="0">
              <a:latin typeface="EYInterstate Light" panose="02000506000000020004" pitchFamily="2" charset="0"/>
            </a:endParaRPr>
          </a:p>
          <a:p>
            <a:pPr marL="0" indent="0">
              <a:buNone/>
              <a:defRPr/>
            </a:pPr>
            <a:endParaRPr lang="fr-FR" sz="899" b="0" kern="0" dirty="0"/>
          </a:p>
        </p:txBody>
      </p:sp>
      <p:sp>
        <p:nvSpPr>
          <p:cNvPr id="43" name="Freeform 19">
            <a:extLst>
              <a:ext uri="{FF2B5EF4-FFF2-40B4-BE49-F238E27FC236}">
                <a16:creationId xmlns:a16="http://schemas.microsoft.com/office/drawing/2014/main" id="{08122175-F658-4086-AC4B-1EC45829FB7A}"/>
              </a:ext>
            </a:extLst>
          </p:cNvPr>
          <p:cNvSpPr/>
          <p:nvPr/>
        </p:nvSpPr>
        <p:spPr>
          <a:xfrm flipV="1">
            <a:off x="-1" y="4936969"/>
            <a:ext cx="2460399" cy="647519"/>
          </a:xfrm>
          <a:custGeom>
            <a:avLst/>
            <a:gdLst>
              <a:gd name="connsiteX0" fmla="*/ 0 w 2307600"/>
              <a:gd name="connsiteY0" fmla="*/ 758394 h 758394"/>
              <a:gd name="connsiteX1" fmla="*/ 2307600 w 2307600"/>
              <a:gd name="connsiteY1" fmla="*/ 758394 h 758394"/>
              <a:gd name="connsiteX2" fmla="*/ 2307600 w 2307600"/>
              <a:gd name="connsiteY2" fmla="*/ 402241 h 758394"/>
              <a:gd name="connsiteX3" fmla="*/ 0 w 2307600"/>
              <a:gd name="connsiteY3" fmla="*/ 0 h 758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7600" h="758394">
                <a:moveTo>
                  <a:pt x="0" y="758394"/>
                </a:moveTo>
                <a:lnTo>
                  <a:pt x="2307600" y="758394"/>
                </a:lnTo>
                <a:lnTo>
                  <a:pt x="2307600" y="402241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lIns="61568" tIns="61568" rIns="61568" bIns="61568" anchor="ctr"/>
          <a:lstStyle/>
          <a:p>
            <a:pPr marL="0" marR="0" lvl="0" indent="0" algn="ctr" defTabSz="89185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 descr="Receiver with solid fill">
            <a:extLst>
              <a:ext uri="{FF2B5EF4-FFF2-40B4-BE49-F238E27FC236}">
                <a16:creationId xmlns:a16="http://schemas.microsoft.com/office/drawing/2014/main" id="{96758D86-39BE-4BEC-A2C4-3F1BC847F9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226032" y="3461968"/>
            <a:ext cx="108000" cy="108000"/>
          </a:xfrm>
          <a:prstGeom prst="rect">
            <a:avLst/>
          </a:prstGeom>
        </p:spPr>
      </p:pic>
      <p:pic>
        <p:nvPicPr>
          <p:cNvPr id="7" name="Graphic 6" descr="Envelope with solid fill">
            <a:extLst>
              <a:ext uri="{FF2B5EF4-FFF2-40B4-BE49-F238E27FC236}">
                <a16:creationId xmlns:a16="http://schemas.microsoft.com/office/drawing/2014/main" id="{B702EB2A-DC6E-4767-A6F9-DE1B13B7E7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6032" y="3650340"/>
            <a:ext cx="108000" cy="108000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AC33FD02-C879-4A0D-8562-73FCC07A8093}"/>
              </a:ext>
            </a:extLst>
          </p:cNvPr>
          <p:cNvGrpSpPr/>
          <p:nvPr/>
        </p:nvGrpSpPr>
        <p:grpSpPr>
          <a:xfrm>
            <a:off x="3419872" y="209239"/>
            <a:ext cx="5443074" cy="352100"/>
            <a:chOff x="3419872" y="209239"/>
            <a:chExt cx="5443074" cy="3521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6F65BA0-540B-4081-9A72-EDAB9853F36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B92FA29-A77F-4EB1-8FEF-4CDA8E38FD2A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1DA9170-0B27-4896-B6B7-E25F1B040BA2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767BE07-F046-4020-BBB6-422488BA7D1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rgbClr val="FFFC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63" name="Graphic 62" descr="Home with solid fill">
              <a:extLst>
                <a:ext uri="{FF2B5EF4-FFF2-40B4-BE49-F238E27FC236}">
                  <a16:creationId xmlns:a16="http://schemas.microsoft.com/office/drawing/2014/main" id="{FEE23191-98DF-43CF-870E-C544335AD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E803CB2-76DF-4825-A485-54CE2FA0C364}"/>
              </a:ext>
            </a:extLst>
          </p:cNvPr>
          <p:cNvSpPr/>
          <p:nvPr/>
        </p:nvSpPr>
        <p:spPr>
          <a:xfrm>
            <a:off x="167104" y="4331679"/>
            <a:ext cx="2067431" cy="311770"/>
          </a:xfrm>
          <a:prstGeom prst="roundRect">
            <a:avLst/>
          </a:prstGeom>
          <a:noFill/>
          <a:ln>
            <a:solidFill>
              <a:srgbClr val="2E2E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fr-FR" sz="1100" b="1" i="1" dirty="0">
                <a:solidFill>
                  <a:srgbClr val="2E2E38"/>
                </a:solidFill>
                <a:latin typeface="EYInterstate Bold"/>
              </a:rPr>
              <a:t>Base CV T1 FY26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6E7573-FBE6-481A-90DB-BDA5197D3E91}"/>
              </a:ext>
            </a:extLst>
          </p:cNvPr>
          <p:cNvGrpSpPr/>
          <p:nvPr/>
        </p:nvGrpSpPr>
        <p:grpSpPr>
          <a:xfrm>
            <a:off x="2771800" y="833003"/>
            <a:ext cx="5904654" cy="1446251"/>
            <a:chOff x="2771800" y="833003"/>
            <a:chExt cx="5904654" cy="1446251"/>
          </a:xfrm>
        </p:grpSpPr>
        <p:sp>
          <p:nvSpPr>
            <p:cNvPr id="67" name="Rectangle 2">
              <a:extLst>
                <a:ext uri="{FF2B5EF4-FFF2-40B4-BE49-F238E27FC236}">
                  <a16:creationId xmlns:a16="http://schemas.microsoft.com/office/drawing/2014/main" id="{15634661-CCD0-465E-BB5F-E0027A78DBCC}"/>
                </a:ext>
              </a:extLst>
            </p:cNvPr>
            <p:cNvSpPr txBox="1"/>
            <p:nvPr/>
          </p:nvSpPr>
          <p:spPr>
            <a:xfrm>
              <a:off x="2888540" y="1199166"/>
              <a:ext cx="5787914" cy="108008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>
              <a:noAutofit/>
            </a:bodyPr>
            <a:lstStyle/>
            <a:p>
              <a:pPr marL="182563" lvl="2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</a:pPr>
              <a:r>
                <a:rPr lang="fr-FR" sz="1000" dirty="0" err="1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Yaniv</a:t>
              </a:r>
              <a:r>
                <a:rPr lang="fr-FR" sz="100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 a intégré le département Data &amp; Analytics du département FSO du cabinet EY en Avril 2024. Il a 3 ans d’expérience dans les domaines de Data Science et Data Engineering avec une expertise en analyse de données ainsi qu’une forte expérience en </a:t>
              </a:r>
              <a:r>
                <a:rPr lang="fr-FR" sz="100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data platform.</a:t>
              </a:r>
              <a:endPara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endParaRPr>
            </a:p>
            <a:p>
              <a:pPr marL="182563" lvl="2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</a:pPr>
              <a:r>
                <a:rPr lang="fr-FR" sz="100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Avant de rejoindre EY, Il a travaillé en tant que Data </a:t>
              </a:r>
              <a:r>
                <a:rPr lang="fr-FR" sz="1000" dirty="0" err="1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Engineer</a:t>
              </a:r>
              <a:r>
                <a:rPr lang="fr-FR" sz="100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 pour une compagnie spécialisée en Data.</a:t>
              </a:r>
            </a:p>
            <a:p>
              <a:pPr marL="182563" lvl="2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</a:pPr>
              <a:r>
                <a:rPr lang="fr-FR" sz="100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Il est titulaire d’un diplôme d’ingénieur de l’école Centrale de Lille, avec une spécialisation Intelligence Artificielle et Sciences des données. 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1B7B02C-D799-4A03-8DBA-0FFBAAF6973B}"/>
                </a:ext>
              </a:extLst>
            </p:cNvPr>
            <p:cNvGrpSpPr/>
            <p:nvPr/>
          </p:nvGrpSpPr>
          <p:grpSpPr>
            <a:xfrm>
              <a:off x="2771800" y="833003"/>
              <a:ext cx="5724003" cy="240908"/>
              <a:chOff x="2771800" y="833003"/>
              <a:chExt cx="5724003" cy="240908"/>
            </a:xfrm>
          </p:grpSpPr>
          <p:sp>
            <p:nvSpPr>
              <p:cNvPr id="64" name="Rectangle 2">
                <a:extLst>
                  <a:ext uri="{FF2B5EF4-FFF2-40B4-BE49-F238E27FC236}">
                    <a16:creationId xmlns:a16="http://schemas.microsoft.com/office/drawing/2014/main" id="{4E521428-A092-4A5F-B8AC-55629CB86A2C}"/>
                  </a:ext>
                </a:extLst>
              </p:cNvPr>
              <p:cNvSpPr txBox="1"/>
              <p:nvPr/>
            </p:nvSpPr>
            <p:spPr>
              <a:xfrm>
                <a:off x="2771801" y="833003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defTabSz="872436" eaLnBrk="0" fontAlgn="base" hangingPunct="0">
                  <a:spcAft>
                    <a:spcPts val="600"/>
                  </a:spcAft>
                  <a:buClr>
                    <a:srgbClr val="FFD200"/>
                  </a:buClr>
                  <a:buSzPct val="75000"/>
                  <a:tabLst>
                    <a:tab pos="1415099" algn="l"/>
                    <a:tab pos="2830197" algn="l"/>
                    <a:tab pos="4089454" algn="r"/>
                  </a:tabLst>
                </a:pPr>
                <a:r>
                  <a:rPr lang="fr-FR" sz="1200" b="1" dirty="0">
                    <a:solidFill>
                      <a:srgbClr val="646464"/>
                    </a:solidFill>
                    <a:latin typeface="EYInterstate Regular" panose="02000503020000020004" pitchFamily="2" charset="0"/>
                    <a:sym typeface="Arial Unicode MS" pitchFamily="34" charset="-128"/>
                  </a:rPr>
                  <a:t>PARCOURS ET FORMATION</a:t>
                </a:r>
                <a:endParaRPr lang="fr-FR" sz="900" dirty="0">
                  <a:solidFill>
                    <a:srgbClr val="646464"/>
                  </a:solidFill>
                  <a:latin typeface="EYInterstate Regular" panose="02000503020000020004" pitchFamily="2" charset="0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46" name="Connecteur droit 36">
                <a:extLst>
                  <a:ext uri="{FF2B5EF4-FFF2-40B4-BE49-F238E27FC236}">
                    <a16:creationId xmlns:a16="http://schemas.microsoft.com/office/drawing/2014/main" id="{937F69C1-4AF7-4DBD-8A4B-08E57075240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Rectangle 2">
            <a:extLst>
              <a:ext uri="{FF2B5EF4-FFF2-40B4-BE49-F238E27FC236}">
                <a16:creationId xmlns:a16="http://schemas.microsoft.com/office/drawing/2014/main" id="{ED3B1590-16EA-456C-BD9A-57A405CDEDCC}"/>
              </a:ext>
            </a:extLst>
          </p:cNvPr>
          <p:cNvSpPr txBox="1"/>
          <p:nvPr/>
        </p:nvSpPr>
        <p:spPr>
          <a:xfrm>
            <a:off x="2888542" y="2821866"/>
            <a:ext cx="5783103" cy="1327467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Analyse et traitement de données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Machine Learning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Data Platform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Data </a:t>
            </a:r>
            <a:r>
              <a:rPr lang="fr-FR" sz="1000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Quality</a:t>
            </a:r>
            <a:endParaRPr lang="fr-FR" sz="1000" dirty="0">
              <a:solidFill>
                <a:srgbClr val="646464"/>
              </a:solidFill>
              <a:latin typeface="EYInterstate Light" panose="02000506000000020004" pitchFamily="2" charset="0"/>
              <a:cs typeface="Arial" charset="0"/>
              <a:sym typeface="EYInterstate" panose="02000503020000020004" pitchFamily="2" charset="0"/>
            </a:endParaRP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Data Engineering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Bases de données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endParaRPr lang="fr-FR" sz="1000" dirty="0">
              <a:solidFill>
                <a:srgbClr val="646464"/>
              </a:solidFill>
              <a:latin typeface="EYInterstate Light" panose="02000506000000020004" pitchFamily="2" charset="0"/>
              <a:cs typeface="Arial" charset="0"/>
              <a:sym typeface="EYInterstate" panose="02000503020000020004" pitchFamily="2" charset="0"/>
            </a:endParaRP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Programmation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Data visualisation 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Gestion des données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Pipelines ETL/ELT 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Cloud Engineering</a:t>
            </a:r>
          </a:p>
          <a:p>
            <a:pPr marL="182563" lvl="2" indent="-182563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 Unicode MS" pitchFamily="34" charset="-128"/>
              <a:buChar char="►"/>
              <a:tabLst>
                <a:tab pos="2827798" algn="l"/>
                <a:tab pos="4085985" algn="r"/>
              </a:tabLst>
              <a:defRPr/>
            </a:pPr>
            <a:r>
              <a: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rPr>
              <a:t>Langues : Français et Anglais</a:t>
            </a:r>
          </a:p>
          <a:p>
            <a:pPr marL="0" lvl="2" defTabSz="871695" fontAlgn="base">
              <a:lnSpc>
                <a:spcPts val="1000"/>
              </a:lnSpc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25000"/>
              <a:tabLst>
                <a:tab pos="2827798" algn="l"/>
                <a:tab pos="4085985" algn="r"/>
              </a:tabLst>
              <a:defRPr/>
            </a:pPr>
            <a:endParaRPr lang="fr-FR" sz="1000" dirty="0">
              <a:solidFill>
                <a:srgbClr val="646464"/>
              </a:solidFill>
              <a:latin typeface="EYInterstate Regular" panose="02000503020000020004" pitchFamily="2" charset="0"/>
              <a:cs typeface="Arial" charset="0"/>
              <a:sym typeface="EYInterstate" panose="02000503020000020004" pitchFamily="2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E809CD4-6F5A-4778-93E4-23342FA30DCC}"/>
              </a:ext>
            </a:extLst>
          </p:cNvPr>
          <p:cNvGrpSpPr/>
          <p:nvPr/>
        </p:nvGrpSpPr>
        <p:grpSpPr>
          <a:xfrm>
            <a:off x="2771800" y="2446165"/>
            <a:ext cx="5724003" cy="240908"/>
            <a:chOff x="2771800" y="833003"/>
            <a:chExt cx="5724003" cy="240908"/>
          </a:xfrm>
        </p:grpSpPr>
        <p:sp>
          <p:nvSpPr>
            <p:cNvPr id="50" name="Rectangle 2">
              <a:extLst>
                <a:ext uri="{FF2B5EF4-FFF2-40B4-BE49-F238E27FC236}">
                  <a16:creationId xmlns:a16="http://schemas.microsoft.com/office/drawing/2014/main" id="{A3CD2969-A5A9-4F06-85AD-F63F5E8C2828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COMPETENCES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51" name="Connecteur droit 36">
              <a:extLst>
                <a:ext uri="{FF2B5EF4-FFF2-40B4-BE49-F238E27FC236}">
                  <a16:creationId xmlns:a16="http://schemas.microsoft.com/office/drawing/2014/main" id="{B1E6C077-A786-45EA-AC7A-462FD624FA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Text Placeholder 68">
            <a:extLst>
              <a:ext uri="{FF2B5EF4-FFF2-40B4-BE49-F238E27FC236}">
                <a16:creationId xmlns:a16="http://schemas.microsoft.com/office/drawing/2014/main" id="{71D9C855-E61F-45A9-92DA-3A9CF1BE538A}"/>
              </a:ext>
            </a:extLst>
          </p:cNvPr>
          <p:cNvSpPr txBox="1">
            <a:spLocks/>
          </p:cNvSpPr>
          <p:nvPr/>
        </p:nvSpPr>
        <p:spPr>
          <a:xfrm>
            <a:off x="4958833" y="608102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kern="0" dirty="0"/>
              <a:t>Azure 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479C5BF5-32C6-4998-A4CD-1C6E02E68AEA}"/>
              </a:ext>
            </a:extLst>
          </p:cNvPr>
          <p:cNvSpPr txBox="1">
            <a:spLocks/>
          </p:cNvSpPr>
          <p:nvPr/>
        </p:nvSpPr>
        <p:spPr>
          <a:xfrm>
            <a:off x="2882967" y="608102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kern="0" dirty="0"/>
              <a:t>Git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77" name="Text Placeholder 72">
            <a:extLst>
              <a:ext uri="{FF2B5EF4-FFF2-40B4-BE49-F238E27FC236}">
                <a16:creationId xmlns:a16="http://schemas.microsoft.com/office/drawing/2014/main" id="{DCAFDECB-D589-4A5E-B8DA-4A65E3083604}"/>
              </a:ext>
            </a:extLst>
          </p:cNvPr>
          <p:cNvSpPr txBox="1">
            <a:spLocks/>
          </p:cNvSpPr>
          <p:nvPr/>
        </p:nvSpPr>
        <p:spPr>
          <a:xfrm>
            <a:off x="4960937" y="561911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kern="0" dirty="0"/>
              <a:t>SQL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78" name="Text Placeholder 74">
            <a:extLst>
              <a:ext uri="{FF2B5EF4-FFF2-40B4-BE49-F238E27FC236}">
                <a16:creationId xmlns:a16="http://schemas.microsoft.com/office/drawing/2014/main" id="{1E85A0B7-5C3B-4D3C-BBF1-95FC8DDF039C}"/>
              </a:ext>
            </a:extLst>
          </p:cNvPr>
          <p:cNvSpPr txBox="1">
            <a:spLocks/>
          </p:cNvSpPr>
          <p:nvPr/>
        </p:nvSpPr>
        <p:spPr>
          <a:xfrm>
            <a:off x="2888540" y="561911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317341" marR="0" indent="-317341" algn="ctr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317341" marR="0" lvl="0" indent="-317341" algn="ctr" defTabSz="412544" eaLnBrk="1" fontAlgn="auto" latinLnBrk="0" hangingPunct="1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Python</a:t>
            </a:r>
          </a:p>
        </p:txBody>
      </p:sp>
      <p:sp>
        <p:nvSpPr>
          <p:cNvPr id="79" name="Text Placeholder 72">
            <a:extLst>
              <a:ext uri="{FF2B5EF4-FFF2-40B4-BE49-F238E27FC236}">
                <a16:creationId xmlns:a16="http://schemas.microsoft.com/office/drawing/2014/main" id="{2F74AEAE-D61E-490E-801A-1EB9149B3E43}"/>
              </a:ext>
            </a:extLst>
          </p:cNvPr>
          <p:cNvSpPr txBox="1">
            <a:spLocks/>
          </p:cNvSpPr>
          <p:nvPr/>
        </p:nvSpPr>
        <p:spPr>
          <a:xfrm>
            <a:off x="7019215" y="5589240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Guidewire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80" name="Text Placeholder 72">
            <a:extLst>
              <a:ext uri="{FF2B5EF4-FFF2-40B4-BE49-F238E27FC236}">
                <a16:creationId xmlns:a16="http://schemas.microsoft.com/office/drawing/2014/main" id="{4EF58F42-802F-4F49-B111-3ADABD681F6A}"/>
              </a:ext>
            </a:extLst>
          </p:cNvPr>
          <p:cNvSpPr txBox="1">
            <a:spLocks/>
          </p:cNvSpPr>
          <p:nvPr/>
        </p:nvSpPr>
        <p:spPr>
          <a:xfrm>
            <a:off x="7019215" y="608102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kern="0" dirty="0"/>
              <a:t>Pipeline ETL/ELT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232B7C2-6485-476A-84E2-38D00CD3453A}"/>
              </a:ext>
            </a:extLst>
          </p:cNvPr>
          <p:cNvGrpSpPr/>
          <p:nvPr/>
        </p:nvGrpSpPr>
        <p:grpSpPr>
          <a:xfrm>
            <a:off x="2771800" y="5300868"/>
            <a:ext cx="5724003" cy="240908"/>
            <a:chOff x="2771800" y="833003"/>
            <a:chExt cx="5724003" cy="240908"/>
          </a:xfrm>
        </p:grpSpPr>
        <p:sp>
          <p:nvSpPr>
            <p:cNvPr id="53" name="Rectangle 2">
              <a:extLst>
                <a:ext uri="{FF2B5EF4-FFF2-40B4-BE49-F238E27FC236}">
                  <a16:creationId xmlns:a16="http://schemas.microsoft.com/office/drawing/2014/main" id="{AC2CF0AF-D1E1-490A-94CE-E31410A8454C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OUTILS TECHNIQUES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54" name="Connecteur droit 36">
              <a:extLst>
                <a:ext uri="{FF2B5EF4-FFF2-40B4-BE49-F238E27FC236}">
                  <a16:creationId xmlns:a16="http://schemas.microsoft.com/office/drawing/2014/main" id="{A4E96413-4F1D-4809-9318-931A9CD946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 Placeholder 68">
            <a:extLst>
              <a:ext uri="{FF2B5EF4-FFF2-40B4-BE49-F238E27FC236}">
                <a16:creationId xmlns:a16="http://schemas.microsoft.com/office/drawing/2014/main" id="{D81BACB9-9466-431A-B125-7E8210A08C4E}"/>
              </a:ext>
            </a:extLst>
          </p:cNvPr>
          <p:cNvSpPr txBox="1">
            <a:spLocks/>
          </p:cNvSpPr>
          <p:nvPr/>
        </p:nvSpPr>
        <p:spPr>
          <a:xfrm>
            <a:off x="4964777" y="4617168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kern="0" dirty="0"/>
              <a:t>Databricks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61" name="Text Placeholder 70">
            <a:extLst>
              <a:ext uri="{FF2B5EF4-FFF2-40B4-BE49-F238E27FC236}">
                <a16:creationId xmlns:a16="http://schemas.microsoft.com/office/drawing/2014/main" id="{88521E1B-2C3D-425D-B061-B5DA5CA70001}"/>
              </a:ext>
            </a:extLst>
          </p:cNvPr>
          <p:cNvSpPr txBox="1">
            <a:spLocks/>
          </p:cNvSpPr>
          <p:nvPr/>
        </p:nvSpPr>
        <p:spPr>
          <a:xfrm>
            <a:off x="2888911" y="4617168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kern="0" dirty="0"/>
              <a:t>Cloud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62" name="Text Placeholder 72">
            <a:extLst>
              <a:ext uri="{FF2B5EF4-FFF2-40B4-BE49-F238E27FC236}">
                <a16:creationId xmlns:a16="http://schemas.microsoft.com/office/drawing/2014/main" id="{DE223EBF-A976-4631-99F9-234B510DA4A7}"/>
              </a:ext>
            </a:extLst>
          </p:cNvPr>
          <p:cNvSpPr txBox="1">
            <a:spLocks/>
          </p:cNvSpPr>
          <p:nvPr/>
        </p:nvSpPr>
        <p:spPr>
          <a:xfrm>
            <a:off x="4966881" y="4155258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Data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Quality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65" name="Text Placeholder 74">
            <a:extLst>
              <a:ext uri="{FF2B5EF4-FFF2-40B4-BE49-F238E27FC236}">
                <a16:creationId xmlns:a16="http://schemas.microsoft.com/office/drawing/2014/main" id="{CBBC54C4-465E-45D0-854E-F456670814B8}"/>
              </a:ext>
            </a:extLst>
          </p:cNvPr>
          <p:cNvSpPr txBox="1">
            <a:spLocks/>
          </p:cNvSpPr>
          <p:nvPr/>
        </p:nvSpPr>
        <p:spPr>
          <a:xfrm>
            <a:off x="2894484" y="4155258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317341" marR="0" indent="-317341" algn="ctr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317341" marR="0" lvl="0" indent="-317341" algn="ctr" defTabSz="412544" eaLnBrk="1" fontAlgn="auto" latinLnBrk="0" hangingPunct="1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Data Mining</a:t>
            </a:r>
          </a:p>
        </p:txBody>
      </p:sp>
      <p:sp>
        <p:nvSpPr>
          <p:cNvPr id="74" name="Text Placeholder 72">
            <a:extLst>
              <a:ext uri="{FF2B5EF4-FFF2-40B4-BE49-F238E27FC236}">
                <a16:creationId xmlns:a16="http://schemas.microsoft.com/office/drawing/2014/main" id="{3A0FA490-8E47-4A33-91F9-0F50CE63FD18}"/>
              </a:ext>
            </a:extLst>
          </p:cNvPr>
          <p:cNvSpPr txBox="1">
            <a:spLocks/>
          </p:cNvSpPr>
          <p:nvPr/>
        </p:nvSpPr>
        <p:spPr>
          <a:xfrm>
            <a:off x="7025159" y="4125384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Regular" charset="0"/>
                <a:sym typeface="Helvetica Neue"/>
              </a:rPr>
              <a:t>Data Engineering</a:t>
            </a:r>
          </a:p>
        </p:txBody>
      </p:sp>
      <p:sp>
        <p:nvSpPr>
          <p:cNvPr id="81" name="Text Placeholder 72">
            <a:extLst>
              <a:ext uri="{FF2B5EF4-FFF2-40B4-BE49-F238E27FC236}">
                <a16:creationId xmlns:a16="http://schemas.microsoft.com/office/drawing/2014/main" id="{68E9BF41-85CB-487F-B39F-1BF08F811CF6}"/>
              </a:ext>
            </a:extLst>
          </p:cNvPr>
          <p:cNvSpPr txBox="1">
            <a:spLocks/>
          </p:cNvSpPr>
          <p:nvPr/>
        </p:nvSpPr>
        <p:spPr>
          <a:xfrm>
            <a:off x="7025159" y="4617168"/>
            <a:ext cx="1638312" cy="324000"/>
          </a:xfrm>
          <a:prstGeom prst="rect">
            <a:avLst/>
          </a:prstGeom>
          <a:solidFill>
            <a:schemeClr val="accent1">
              <a:lumMod val="40000"/>
              <a:lumOff val="60000"/>
              <a:alpha val="67843"/>
            </a:schemeClr>
          </a:solidFill>
          <a:ln w="50800" cap="rnd" cmpd="sng">
            <a:noFill/>
            <a:bevel/>
          </a:ln>
          <a:effectLst/>
        </p:spPr>
        <p:txBody>
          <a:bodyPr lIns="0" tIns="0" rIns="0" bIns="0" anchor="ctr" anchorCtr="0"/>
          <a:lstStyle>
            <a:lvl1pPr marL="0" marR="0" indent="0" algn="ctr" defTabSz="41254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fr-FR" sz="9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EYInterstate Regular" charset="0"/>
                <a:ea typeface="EYInterstate Regular" charset="0"/>
                <a:cs typeface="EYInterstate Regular" charset="0"/>
                <a:sym typeface="Helvetica Neue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ctr" defTabSz="41254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kern="0" dirty="0" err="1"/>
              <a:t>Snowflake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Regular" charset="0"/>
              <a:sym typeface="Helvetica Neue"/>
            </a:endParaRPr>
          </a:p>
        </p:txBody>
      </p:sp>
      <p:sp>
        <p:nvSpPr>
          <p:cNvPr id="41" name="Right Brace 40">
            <a:extLst>
              <a:ext uri="{FF2B5EF4-FFF2-40B4-BE49-F238E27FC236}">
                <a16:creationId xmlns:a16="http://schemas.microsoft.com/office/drawing/2014/main" id="{51574AE8-52F8-4236-B196-B40D07A43B29}"/>
              </a:ext>
            </a:extLst>
          </p:cNvPr>
          <p:cNvSpPr/>
          <p:nvPr/>
        </p:nvSpPr>
        <p:spPr>
          <a:xfrm>
            <a:off x="9175155" y="1167220"/>
            <a:ext cx="330582" cy="947301"/>
          </a:xfrm>
          <a:prstGeom prst="rightBrace">
            <a:avLst>
              <a:gd name="adj1" fmla="val 48434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0B1AAB-4853-4094-AAAD-BD63C94E43DC}"/>
              </a:ext>
            </a:extLst>
          </p:cNvPr>
          <p:cNvSpPr/>
          <p:nvPr/>
        </p:nvSpPr>
        <p:spPr>
          <a:xfrm>
            <a:off x="9612197" y="1196096"/>
            <a:ext cx="1656184" cy="821620"/>
          </a:xfrm>
          <a:prstGeom prst="rect">
            <a:avLst/>
          </a:prstGeom>
          <a:solidFill>
            <a:schemeClr val="accent4">
              <a:lumMod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dirty="0">
                <a:solidFill>
                  <a:schemeClr val="tx2"/>
                </a:solidFill>
              </a:rPr>
              <a:t>EY </a:t>
            </a:r>
            <a:r>
              <a:rPr lang="fr-FR" sz="1200" dirty="0" err="1">
                <a:solidFill>
                  <a:schemeClr val="tx2"/>
                </a:solidFill>
              </a:rPr>
              <a:t>Interstate</a:t>
            </a:r>
            <a:r>
              <a:rPr lang="fr-FR" sz="1200" dirty="0">
                <a:solidFill>
                  <a:schemeClr val="tx2"/>
                </a:solidFill>
              </a:rPr>
              <a:t> light 10 avec </a:t>
            </a:r>
            <a:r>
              <a:rPr lang="fr-FR" sz="1200" dirty="0" err="1">
                <a:solidFill>
                  <a:schemeClr val="tx2"/>
                </a:solidFill>
              </a:rPr>
              <a:t>bullets</a:t>
            </a:r>
            <a:r>
              <a:rPr lang="fr-FR" sz="1200" dirty="0">
                <a:solidFill>
                  <a:schemeClr val="tx2"/>
                </a:solidFill>
              </a:rPr>
              <a:t> en triangle </a:t>
            </a:r>
            <a:r>
              <a:rPr lang="fr-FR" sz="1200" dirty="0" err="1">
                <a:solidFill>
                  <a:schemeClr val="tx2"/>
                </a:solidFill>
              </a:rPr>
              <a:t>ey</a:t>
            </a:r>
            <a:r>
              <a:rPr lang="fr-FR" sz="1200" dirty="0">
                <a:solidFill>
                  <a:schemeClr val="tx2"/>
                </a:solidFill>
              </a:rPr>
              <a:t> jaun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D648B4B-169A-4A33-B2B6-9EF011666B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60632" y="2772665"/>
            <a:ext cx="2460400" cy="1707675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39FDE8D6-9ED2-4906-A272-8B0D7CFA486B}"/>
              </a:ext>
            </a:extLst>
          </p:cNvPr>
          <p:cNvSpPr/>
          <p:nvPr/>
        </p:nvSpPr>
        <p:spPr>
          <a:xfrm>
            <a:off x="9518880" y="2607380"/>
            <a:ext cx="1656184" cy="821620"/>
          </a:xfrm>
          <a:prstGeom prst="rect">
            <a:avLst/>
          </a:prstGeom>
          <a:solidFill>
            <a:schemeClr val="accent4">
              <a:lumMod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dirty="0">
                <a:solidFill>
                  <a:schemeClr val="tx2"/>
                </a:solidFill>
              </a:rPr>
              <a:t>EY </a:t>
            </a:r>
            <a:r>
              <a:rPr lang="fr-FR" sz="1200" dirty="0" err="1">
                <a:solidFill>
                  <a:schemeClr val="tx2"/>
                </a:solidFill>
              </a:rPr>
              <a:t>Interstate</a:t>
            </a:r>
            <a:r>
              <a:rPr lang="fr-FR" sz="1200" dirty="0">
                <a:solidFill>
                  <a:schemeClr val="tx2"/>
                </a:solidFill>
              </a:rPr>
              <a:t> light 10 avec </a:t>
            </a:r>
            <a:r>
              <a:rPr lang="fr-FR" sz="1200" dirty="0" err="1">
                <a:solidFill>
                  <a:schemeClr val="tx2"/>
                </a:solidFill>
              </a:rPr>
              <a:t>bullets</a:t>
            </a:r>
            <a:r>
              <a:rPr lang="fr-FR" sz="1200" dirty="0">
                <a:solidFill>
                  <a:schemeClr val="tx2"/>
                </a:solidFill>
              </a:rPr>
              <a:t> en triangle </a:t>
            </a:r>
            <a:r>
              <a:rPr lang="fr-FR" sz="1200" dirty="0" err="1">
                <a:solidFill>
                  <a:schemeClr val="tx2"/>
                </a:solidFill>
              </a:rPr>
              <a:t>ey</a:t>
            </a:r>
            <a:r>
              <a:rPr lang="fr-FR" sz="1200" dirty="0">
                <a:solidFill>
                  <a:schemeClr val="tx2"/>
                </a:solidFill>
              </a:rPr>
              <a:t> jaune</a:t>
            </a:r>
          </a:p>
        </p:txBody>
      </p:sp>
      <p:sp>
        <p:nvSpPr>
          <p:cNvPr id="47" name="Right Brace 46">
            <a:extLst>
              <a:ext uri="{FF2B5EF4-FFF2-40B4-BE49-F238E27FC236}">
                <a16:creationId xmlns:a16="http://schemas.microsoft.com/office/drawing/2014/main" id="{1CA43A18-43CE-4AF0-ACC4-FD7241C01DDC}"/>
              </a:ext>
            </a:extLst>
          </p:cNvPr>
          <p:cNvSpPr/>
          <p:nvPr/>
        </p:nvSpPr>
        <p:spPr>
          <a:xfrm>
            <a:off x="9175155" y="2514667"/>
            <a:ext cx="238242" cy="1135673"/>
          </a:xfrm>
          <a:prstGeom prst="rightBrace">
            <a:avLst>
              <a:gd name="adj1" fmla="val 48434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C5DDC8F9-29F5-4D05-88CD-030AF5BE7E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471948" y="5490176"/>
            <a:ext cx="1032258" cy="888367"/>
          </a:xfrm>
          <a:prstGeom prst="rect">
            <a:avLst/>
          </a:prstGeom>
        </p:spPr>
      </p:pic>
      <p:sp>
        <p:nvSpPr>
          <p:cNvPr id="55" name="Right Brace 54">
            <a:extLst>
              <a:ext uri="{FF2B5EF4-FFF2-40B4-BE49-F238E27FC236}">
                <a16:creationId xmlns:a16="http://schemas.microsoft.com/office/drawing/2014/main" id="{C51B7A3C-15D8-4EE2-9AF3-E899E897EFBB}"/>
              </a:ext>
            </a:extLst>
          </p:cNvPr>
          <p:cNvSpPr/>
          <p:nvPr/>
        </p:nvSpPr>
        <p:spPr>
          <a:xfrm>
            <a:off x="9175155" y="5333150"/>
            <a:ext cx="238242" cy="1135673"/>
          </a:xfrm>
          <a:prstGeom prst="rightBrace">
            <a:avLst>
              <a:gd name="adj1" fmla="val 48434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D02D3A5-2878-4D38-9FD1-B85C62A1D564}"/>
              </a:ext>
            </a:extLst>
          </p:cNvPr>
          <p:cNvSpPr/>
          <p:nvPr/>
        </p:nvSpPr>
        <p:spPr>
          <a:xfrm>
            <a:off x="9582697" y="5490176"/>
            <a:ext cx="1555630" cy="821620"/>
          </a:xfrm>
          <a:prstGeom prst="rect">
            <a:avLst/>
          </a:prstGeom>
          <a:solidFill>
            <a:schemeClr val="accent4">
              <a:lumMod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dirty="0">
                <a:solidFill>
                  <a:schemeClr val="tx2"/>
                </a:solidFill>
              </a:rPr>
              <a:t>EY </a:t>
            </a:r>
            <a:r>
              <a:rPr lang="fr-FR" sz="1200" dirty="0" err="1">
                <a:solidFill>
                  <a:schemeClr val="tx2"/>
                </a:solidFill>
              </a:rPr>
              <a:t>interstate</a:t>
            </a:r>
            <a:r>
              <a:rPr lang="fr-FR" sz="1200" dirty="0">
                <a:solidFill>
                  <a:schemeClr val="tx2"/>
                </a:solidFill>
              </a:rPr>
              <a:t> 9 couleur texte :</a:t>
            </a:r>
          </a:p>
          <a:p>
            <a:pPr algn="ctr"/>
            <a:r>
              <a:rPr lang="fr-FR" sz="1200" dirty="0">
                <a:solidFill>
                  <a:schemeClr val="tx2"/>
                </a:solidFill>
              </a:rPr>
              <a:t>couleur </a:t>
            </a:r>
            <a:r>
              <a:rPr lang="fr-FR" sz="1200" dirty="0" err="1">
                <a:solidFill>
                  <a:schemeClr val="tx2"/>
                </a:solidFill>
              </a:rPr>
              <a:t>rect</a:t>
            </a:r>
            <a:r>
              <a:rPr lang="fr-FR" sz="1200" dirty="0">
                <a:solidFill>
                  <a:schemeClr val="tx2"/>
                </a:solidFill>
              </a:rPr>
              <a:t> :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57F56B6-1AD4-4EC8-96F7-102244C2FD76}"/>
              </a:ext>
            </a:extLst>
          </p:cNvPr>
          <p:cNvSpPr/>
          <p:nvPr/>
        </p:nvSpPr>
        <p:spPr>
          <a:xfrm>
            <a:off x="10911812" y="5841304"/>
            <a:ext cx="185885" cy="144016"/>
          </a:xfrm>
          <a:prstGeom prst="rect">
            <a:avLst/>
          </a:prstGeom>
          <a:solidFill>
            <a:srgbClr val="00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EEE8DC7-2CD0-40E4-819F-56A08A4365CD}"/>
              </a:ext>
            </a:extLst>
          </p:cNvPr>
          <p:cNvSpPr/>
          <p:nvPr/>
        </p:nvSpPr>
        <p:spPr>
          <a:xfrm>
            <a:off x="10911812" y="6055302"/>
            <a:ext cx="185885" cy="144016"/>
          </a:xfrm>
          <a:prstGeom prst="rect">
            <a:avLst/>
          </a:prstGeom>
          <a:solidFill>
            <a:srgbClr val="DCDCDC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pic>
        <p:nvPicPr>
          <p:cNvPr id="4" name="Image 3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0F9AD7A4-7AB1-BE53-D497-D50A282D9EA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82"/>
            <a:ext cx="2460399" cy="2068530"/>
          </a:xfrm>
          <a:prstGeom prst="rect">
            <a:avLst/>
          </a:prstGeom>
        </p:spPr>
      </p:pic>
      <p:pic>
        <p:nvPicPr>
          <p:cNvPr id="1026" name="Picture 2" descr="Databricks Certified Data Engineer Associate • Sharad Saraf ...">
            <a:extLst>
              <a:ext uri="{FF2B5EF4-FFF2-40B4-BE49-F238E27FC236}">
                <a16:creationId xmlns:a16="http://schemas.microsoft.com/office/drawing/2014/main" id="{F4A797CC-88DA-959F-47C2-A8141DA8B8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424" y="5622142"/>
            <a:ext cx="972016" cy="97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owPro Core Certification - Credly">
            <a:extLst>
              <a:ext uri="{FF2B5EF4-FFF2-40B4-BE49-F238E27FC236}">
                <a16:creationId xmlns:a16="http://schemas.microsoft.com/office/drawing/2014/main" id="{37E4AD1C-B91F-F12D-8A98-40643BA79B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3640" y="5646369"/>
            <a:ext cx="966990" cy="101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 descr="Une image contenant texte, Police, capture d’écran, symbole&#10;&#10;Le contenu généré par l’IA peut être incorrect.">
            <a:extLst>
              <a:ext uri="{FF2B5EF4-FFF2-40B4-BE49-F238E27FC236}">
                <a16:creationId xmlns:a16="http://schemas.microsoft.com/office/drawing/2014/main" id="{FA8B0DEC-6E47-B6E6-B3FC-7CCA87728D2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45" y="5714389"/>
            <a:ext cx="780173" cy="879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4717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3449406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50" name="Rectangle 2">
            <a:extLst>
              <a:ext uri="{FF2B5EF4-FFF2-40B4-BE49-F238E27FC236}">
                <a16:creationId xmlns:a16="http://schemas.microsoft.com/office/drawing/2014/main" id="{09E56745-427F-4151-8C3F-020F170F21A1}"/>
              </a:ext>
            </a:extLst>
          </p:cNvPr>
          <p:cNvSpPr txBox="1"/>
          <p:nvPr/>
        </p:nvSpPr>
        <p:spPr>
          <a:xfrm>
            <a:off x="194388" y="1729223"/>
            <a:ext cx="8750610" cy="4940137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0" lvl="1" defTabSz="653771" fontAlgn="base"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300" b="1" dirty="0">
              <a:solidFill>
                <a:srgbClr val="646464"/>
              </a:solidFill>
              <a:latin typeface="EYInterstate Regular" panose="02000503020000020004" pitchFamily="2" charset="0"/>
              <a:sym typeface="EYInterstate" panose="02000503020000020004" pitchFamily="2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87C027E-7179-4EF3-AB65-F18AAC587A8F}"/>
              </a:ext>
            </a:extLst>
          </p:cNvPr>
          <p:cNvGrpSpPr/>
          <p:nvPr/>
        </p:nvGrpSpPr>
        <p:grpSpPr>
          <a:xfrm>
            <a:off x="194388" y="1387892"/>
            <a:ext cx="5724003" cy="240908"/>
            <a:chOff x="2771800" y="833003"/>
            <a:chExt cx="5724003" cy="240908"/>
          </a:xfrm>
        </p:grpSpPr>
        <p:sp>
          <p:nvSpPr>
            <p:cNvPr id="27" name="Rectangle 2">
              <a:extLst>
                <a:ext uri="{FF2B5EF4-FFF2-40B4-BE49-F238E27FC236}">
                  <a16:creationId xmlns:a16="http://schemas.microsoft.com/office/drawing/2014/main" id="{63619E70-619D-4304-B1E0-440788F6D899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EXPERIENCES PROFESIONNELLES (1/2)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28" name="Connecteur droit 36">
              <a:extLst>
                <a:ext uri="{FF2B5EF4-FFF2-40B4-BE49-F238E27FC236}">
                  <a16:creationId xmlns:a16="http://schemas.microsoft.com/office/drawing/2014/main" id="{012A46D0-AE5E-4CEF-88FA-8FCFD44FD8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3">
            <a:extLst>
              <a:ext uri="{FF2B5EF4-FFF2-40B4-BE49-F238E27FC236}">
                <a16:creationId xmlns:a16="http://schemas.microsoft.com/office/drawing/2014/main" id="{CEE34615-8D20-28AC-8606-19266D3A4CC1}"/>
              </a:ext>
            </a:extLst>
          </p:cNvPr>
          <p:cNvGrpSpPr/>
          <p:nvPr/>
        </p:nvGrpSpPr>
        <p:grpSpPr>
          <a:xfrm>
            <a:off x="157618" y="188594"/>
            <a:ext cx="8824151" cy="576111"/>
            <a:chOff x="157618" y="620688"/>
            <a:chExt cx="8824151" cy="720080"/>
          </a:xfrm>
        </p:grpSpPr>
        <p:sp>
          <p:nvSpPr>
            <p:cNvPr id="7" name="Rectangle 1">
              <a:extLst>
                <a:ext uri="{FF2B5EF4-FFF2-40B4-BE49-F238E27FC236}">
                  <a16:creationId xmlns:a16="http://schemas.microsoft.com/office/drawing/2014/main" id="{1E6BA618-3EB4-85A0-6A83-0259B3370BB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7618" y="620688"/>
              <a:ext cx="8824151" cy="720080"/>
            </a:xfrm>
            <a:prstGeom prst="rect">
              <a:avLst/>
            </a:prstGeom>
            <a:solidFill>
              <a:srgbClr val="FFE600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80071" tIns="40036" rIns="80071" bIns="40036" anchor="ctr"/>
            <a:lstStyle/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715963" lvl="2"/>
              <a:r>
                <a:rPr lang="fr-FR" altLang="fr-FR" sz="1000" b="1" dirty="0" err="1">
                  <a:solidFill>
                    <a:prstClr val="black"/>
                  </a:solidFill>
                  <a:latin typeface="EYInterstate Regular" panose="02000503020000020004" pitchFamily="2" charset="0"/>
                </a:rPr>
                <a:t>Yaniv</a:t>
              </a:r>
              <a:r>
                <a:rPr lang="fr-FR" altLang="fr-FR" sz="1000" b="1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 Benichou</a:t>
              </a:r>
            </a:p>
            <a:p>
              <a:pPr marL="715963" lvl="2"/>
              <a:r>
                <a:rPr lang="fr-FR" altLang="fr-FR" sz="1000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Staff/Assistant – Data &amp; Analytics</a:t>
              </a:r>
            </a:p>
            <a:p>
              <a:pPr lvl="2"/>
              <a:r>
                <a:rPr lang="fr-FR" altLang="fr-FR" sz="1000" dirty="0">
                  <a:latin typeface="EYInterstate Regular" panose="02000503020000020004" pitchFamily="2" charset="0"/>
                </a:rPr>
                <a:t> </a:t>
              </a:r>
              <a:endParaRPr lang="fr-FR" altLang="fr-FR" sz="1000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911595" lvl="2" indent="-111169" defTabSz="911595">
                <a:spcAft>
                  <a:spcPct val="0"/>
                </a:spcAft>
              </a:pPr>
              <a:endParaRPr lang="fr-FR" altLang="fr-FR" sz="1100" kern="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: Rounded Corners 14">
              <a:extLst>
                <a:ext uri="{FF2B5EF4-FFF2-40B4-BE49-F238E27FC236}">
                  <a16:creationId xmlns:a16="http://schemas.microsoft.com/office/drawing/2014/main" id="{407EAF14-CA48-1B2C-0DB4-6817384F3C51}"/>
                </a:ext>
              </a:extLst>
            </p:cNvPr>
            <p:cNvSpPr/>
            <p:nvPr/>
          </p:nvSpPr>
          <p:spPr>
            <a:xfrm>
              <a:off x="6615644" y="819836"/>
              <a:ext cx="2067431" cy="311770"/>
            </a:xfrm>
            <a:prstGeom prst="roundRect">
              <a:avLst/>
            </a:prstGeom>
            <a:noFill/>
            <a:ln>
              <a:solidFill>
                <a:srgbClr val="2E2E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1100" i="1" dirty="0">
                  <a:solidFill>
                    <a:srgbClr val="2E2E38"/>
                  </a:solidFill>
                  <a:latin typeface="EYInterstate Bold"/>
                </a:rPr>
                <a:t>Base CV T1 FY26</a:t>
              </a:r>
            </a:p>
          </p:txBody>
        </p:sp>
      </p:grpSp>
      <p:pic>
        <p:nvPicPr>
          <p:cNvPr id="9" name="Image 8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45C6C484-36C3-FB8A-25C1-DDDC883848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19" y="188640"/>
            <a:ext cx="687304" cy="577837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ED2FA63E-BB0A-9DB6-FA3B-13A58FCDFE0F}"/>
              </a:ext>
            </a:extLst>
          </p:cNvPr>
          <p:cNvSpPr txBox="1"/>
          <p:nvPr/>
        </p:nvSpPr>
        <p:spPr>
          <a:xfrm>
            <a:off x="346788" y="1881623"/>
            <a:ext cx="8750610" cy="4940137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defTabSz="872436" eaLnBrk="0" fontAlgn="base" hangingPunct="0">
              <a:spcAft>
                <a:spcPts val="600"/>
              </a:spcAft>
              <a:buClr>
                <a:srgbClr val="FFD200"/>
              </a:buClr>
              <a:buSzPct val="75000"/>
              <a:tabLst>
                <a:tab pos="1415099" algn="l"/>
                <a:tab pos="2830197" algn="l"/>
                <a:tab pos="4089454" algn="r"/>
              </a:tabLst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/>
              </a:rPr>
              <a:t>Pour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/>
              </a:rPr>
              <a:t>une grande assurance : Développeur Data Pipeline (1 an) (01/2025 – 06/2025)</a:t>
            </a:r>
            <a:endParaRPr lang="fr-FR" sz="1000" b="1" kern="1200" dirty="0">
              <a:solidFill>
                <a:srgbClr val="000000"/>
              </a:solidFill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Développement et configuration de solutions d'assurance avec la suite </a:t>
            </a:r>
            <a:r>
              <a:rPr lang="fr-FR" sz="1000" dirty="0" err="1"/>
              <a:t>GuideWire</a:t>
            </a:r>
            <a:r>
              <a:rPr lang="fr-FR" sz="1000" dirty="0"/>
              <a:t>, incluant la création et modification d'entités dans le modèle de données selon les spécifications métiers 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Implémentation d'intégrations complexes entre </a:t>
            </a:r>
            <a:r>
              <a:rPr lang="fr-FR" sz="1000" dirty="0" err="1"/>
              <a:t>GuideWire</a:t>
            </a:r>
            <a:r>
              <a:rPr lang="fr-FR" sz="1000" dirty="0"/>
              <a:t> et les systèmes existants via requêtes SQL optimisées dans PostgreSQL 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Administration de l'environnement </a:t>
            </a:r>
            <a:r>
              <a:rPr lang="fr-FR" sz="1000" dirty="0" err="1"/>
              <a:t>GuideWire</a:t>
            </a:r>
            <a:r>
              <a:rPr lang="fr-FR" sz="1000" dirty="0"/>
              <a:t> sur serveurs Linux et gestion du code source via Git (</a:t>
            </a:r>
            <a:r>
              <a:rPr lang="fr-FR" sz="1000" dirty="0" err="1"/>
              <a:t>Bitbucket</a:t>
            </a:r>
            <a:r>
              <a:rPr lang="fr-FR" sz="1000" dirty="0"/>
              <a:t>), garantissant stabilité et traçabilité des modifications 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Diagnostic et résolution des anomalies détectées lors des phases de test et de recette, assurant la conformité des configurations </a:t>
            </a:r>
            <a:r>
              <a:rPr lang="fr-FR" sz="1000" dirty="0" err="1"/>
              <a:t>GuideWire</a:t>
            </a:r>
            <a:r>
              <a:rPr lang="fr-FR" sz="1000" dirty="0"/>
              <a:t> aux exigences métiers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 SQL, Python,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Guidewire</a:t>
            </a: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 AWS Workspace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gestion de bases de données, Script d’automatisation,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versionning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,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Guidewire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.</a:t>
            </a:r>
            <a:endParaRPr lang="fr-FR" sz="1000" b="1" kern="1200" dirty="0">
              <a:solidFill>
                <a:srgbClr val="000000"/>
              </a:solidFill>
              <a:latin typeface="EYInterstate Light"/>
              <a:sym typeface="EYInterstate" panose="02000503020000020004" pitchFamily="2" charset="0"/>
            </a:endParaRPr>
          </a:p>
          <a:p>
            <a:pPr marL="0" lvl="1" indent="0" defTabSz="653771" fontAlgn="base">
              <a:spcBef>
                <a:spcPts val="600"/>
              </a:spcBef>
              <a:spcAft>
                <a:spcPts val="450"/>
              </a:spcAft>
              <a:buClr>
                <a:srgbClr val="FFD200"/>
              </a:buClr>
              <a:buNone/>
              <a:tabLst>
                <a:tab pos="2120849" algn="l"/>
                <a:tab pos="3064489" algn="r"/>
              </a:tabLst>
              <a:defRPr/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Pour une grande assurance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mutualiste </a:t>
            </a: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: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Construction</a:t>
            </a: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 d’une Data Platform sur Azure. (4 mois) (04/2024 – 08/2024)</a:t>
            </a:r>
            <a:endParaRPr lang="fr-FR" sz="1000" b="1" dirty="0"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Mise en place d'un service Azure Data </a:t>
            </a: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Factory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 pour l'orchestration des données. 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Stockage des données dans un Data Lake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ea typeface="+mn-lt"/>
                <a:cs typeface="+mn-lt"/>
                <a:sym typeface="EYInterstate" panose="02000503020000020004" pitchFamily="2" charset="0"/>
              </a:rPr>
              <a:t>Implémentation des règles métiers et de contrôle de qualité de données sur </a:t>
            </a: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ea typeface="+mn-lt"/>
                <a:cs typeface="+mn-lt"/>
                <a:sym typeface="EYInterstate" panose="02000503020000020004" pitchFamily="2" charset="0"/>
              </a:rPr>
              <a:t>Databricks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ea typeface="+mn-lt"/>
                <a:cs typeface="+mn-lt"/>
                <a:sym typeface="EYInterstate" panose="02000503020000020004" pitchFamily="2" charset="0"/>
              </a:rPr>
              <a:t>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Mise en place d’un environnement </a:t>
            </a: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Databricks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 pour le traitement des données.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 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Optimisation des traitements en utilisant Spark et SQL. 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Evaluation des performances personnalisées des pipelines ETL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Déploiement sur Azure.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Spark, Python,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Databricks</a:t>
            </a: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Azure</a:t>
            </a:r>
          </a:p>
          <a:p>
            <a:pPr marL="0" lvl="1" indent="3175" defTabSz="653771" fontAlgn="base"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Data Platform, acquis technique en services cloud Azure, analyse sur des grands volumes de données, synthèse visuelle des résultats</a:t>
            </a:r>
          </a:p>
          <a:p>
            <a:pPr marL="0" lvl="1" indent="3175" defTabSz="653771" fontAlgn="base"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300" b="1" dirty="0">
              <a:solidFill>
                <a:srgbClr val="646464"/>
              </a:solidFill>
              <a:latin typeface="EYInterstate Regular" panose="02000503020000020004" pitchFamily="2" charset="0"/>
              <a:sym typeface="EYInterstate" panose="02000503020000020004" pitchFamily="2" charset="0"/>
            </a:endParaRPr>
          </a:p>
          <a:p>
            <a:pPr>
              <a:spcAft>
                <a:spcPts val="600"/>
              </a:spcAft>
              <a:defRPr/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Projet EY : Développement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et déploiement d’une</a:t>
            </a: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 application IA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 et NLP</a:t>
            </a:r>
          </a:p>
          <a:p>
            <a:pPr>
              <a:spcAft>
                <a:spcPts val="600"/>
              </a:spcAft>
              <a:defRPr/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(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6 mois) (10/2023 – 04/2024)</a:t>
            </a:r>
            <a:endParaRPr lang="fr-FR" sz="1000" b="1" kern="1200" dirty="0">
              <a:solidFill>
                <a:srgbClr val="000000"/>
              </a:solidFill>
              <a:latin typeface="EYInterstate Light"/>
            </a:endParaRP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Création de la base de données à partir du </a:t>
            </a:r>
            <a:r>
              <a:rPr lang="fr-FR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scraping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 d'articles financiers provenant de 6 sources différentes.</a:t>
            </a:r>
            <a:endParaRPr lang="fr-FR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Contribution au développement d’un moteur de </a:t>
            </a:r>
            <a:r>
              <a:rPr lang="fr-FR" sz="1000" dirty="0">
                <a:latin typeface="EYInterstate Light"/>
              </a:rPr>
              <a:t>recherche fondé sur un modèle de langage à grande échelle (LLM) (GPT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).</a:t>
            </a:r>
            <a:endParaRPr lang="fr-FR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latin typeface="EYInterstate Light"/>
              </a:rPr>
              <a:t>Construction d'une application web et gestion de l'UX pour les utilisateurs. </a:t>
            </a:r>
            <a:endParaRPr lang="fr-FR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latin typeface="EYInterstate Light"/>
              </a:rPr>
              <a:t>Développement </a:t>
            </a: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d’une partie de l’architecture fonctionnelle des données et de sa pipeline ETL.</a:t>
            </a: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Création d’une solution d'automatisation de mise à jour de la base de données, optimisant la gestion des données et assurant la pertinence des résultats pour les utilisateurs.</a:t>
            </a: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Python, Web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Scraping</a:t>
            </a: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Streamlit</a:t>
            </a: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marL="0" lvl="1" indent="3175" defTabSz="653771" fontAlgn="base"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Data Mining, Web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Scraping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, analyse sur des grands volumes de données, synthèse visuelle des résultats</a:t>
            </a: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534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F4BBB6E-F873-45EE-AFB0-8C02E9A221F5}"/>
              </a:ext>
            </a:extLst>
          </p:cNvPr>
          <p:cNvGrpSpPr/>
          <p:nvPr/>
        </p:nvGrpSpPr>
        <p:grpSpPr>
          <a:xfrm>
            <a:off x="157618" y="188594"/>
            <a:ext cx="8824151" cy="576111"/>
            <a:chOff x="157618" y="620688"/>
            <a:chExt cx="8824151" cy="720080"/>
          </a:xfrm>
        </p:grpSpPr>
        <p:sp>
          <p:nvSpPr>
            <p:cNvPr id="32" name="Rectangle 1">
              <a:extLst>
                <a:ext uri="{FF2B5EF4-FFF2-40B4-BE49-F238E27FC236}">
                  <a16:creationId xmlns:a16="http://schemas.microsoft.com/office/drawing/2014/main" id="{7663D327-9441-41F2-BF31-4CB02276FC4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7618" y="620688"/>
              <a:ext cx="8824151" cy="720080"/>
            </a:xfrm>
            <a:prstGeom prst="rect">
              <a:avLst/>
            </a:prstGeom>
            <a:solidFill>
              <a:srgbClr val="FFE600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80071" tIns="40036" rIns="80071" bIns="40036" anchor="ctr"/>
            <a:lstStyle/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715963" lvl="2"/>
              <a:r>
                <a:rPr lang="fr-FR" altLang="fr-FR" sz="1000" b="1" dirty="0" err="1">
                  <a:solidFill>
                    <a:prstClr val="black"/>
                  </a:solidFill>
                  <a:latin typeface="EYInterstate Regular" panose="02000503020000020004" pitchFamily="2" charset="0"/>
                </a:rPr>
                <a:t>Yaniv</a:t>
              </a:r>
              <a:r>
                <a:rPr lang="fr-FR" altLang="fr-FR" sz="1000" b="1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 Benichou</a:t>
              </a:r>
            </a:p>
            <a:p>
              <a:pPr marL="715963" lvl="2"/>
              <a:r>
                <a:rPr lang="fr-FR" altLang="fr-FR" sz="1000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Staff/Assistant – Data &amp; Analytics</a:t>
              </a:r>
            </a:p>
            <a:p>
              <a:pPr lvl="2"/>
              <a:r>
                <a:rPr lang="fr-FR" altLang="fr-FR" sz="1000" dirty="0">
                  <a:latin typeface="EYInterstate Regular" panose="02000503020000020004" pitchFamily="2" charset="0"/>
                </a:rPr>
                <a:t> </a:t>
              </a:r>
              <a:endParaRPr lang="fr-FR" altLang="fr-FR" sz="1000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911595" lvl="2" indent="-111169" defTabSz="911595">
                <a:spcAft>
                  <a:spcPct val="0"/>
                </a:spcAft>
              </a:pPr>
              <a:endParaRPr lang="fr-FR" altLang="fr-FR" sz="1100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E803CB2-76DF-4825-A485-54CE2FA0C364}"/>
                </a:ext>
              </a:extLst>
            </p:cNvPr>
            <p:cNvSpPr/>
            <p:nvPr/>
          </p:nvSpPr>
          <p:spPr>
            <a:xfrm>
              <a:off x="6615644" y="819836"/>
              <a:ext cx="2067431" cy="311770"/>
            </a:xfrm>
            <a:prstGeom prst="roundRect">
              <a:avLst/>
            </a:prstGeom>
            <a:noFill/>
            <a:ln>
              <a:solidFill>
                <a:srgbClr val="2E2E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1100" i="1" dirty="0">
                  <a:solidFill>
                    <a:srgbClr val="2E2E38"/>
                  </a:solidFill>
                  <a:latin typeface="EYInterstate Bold"/>
                </a:rPr>
                <a:t>Base CV T1 FY26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3449406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50" name="Rectangle 2">
            <a:extLst>
              <a:ext uri="{FF2B5EF4-FFF2-40B4-BE49-F238E27FC236}">
                <a16:creationId xmlns:a16="http://schemas.microsoft.com/office/drawing/2014/main" id="{09E56745-427F-4151-8C3F-020F170F21A1}"/>
              </a:ext>
            </a:extLst>
          </p:cNvPr>
          <p:cNvSpPr txBox="1"/>
          <p:nvPr/>
        </p:nvSpPr>
        <p:spPr>
          <a:xfrm>
            <a:off x="194388" y="1729223"/>
            <a:ext cx="8750610" cy="4940137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0" lvl="1" indent="0" defTabSz="653771" fontAlgn="base"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None/>
              <a:tabLst>
                <a:tab pos="2120849" algn="l"/>
                <a:tab pos="3064489" algn="r"/>
              </a:tabLst>
              <a:defRPr/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Pour une grande banque :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 panose="02000503020000020004" pitchFamily="2" charset="0"/>
              </a:rPr>
              <a:t>Conversion automatique de script SAS en base SQL (2 mois) (10/2024 – 12/2024)</a:t>
            </a:r>
            <a:endParaRPr lang="fr-FR" sz="1000" b="1" kern="1200" dirty="0">
              <a:solidFill>
                <a:srgbClr val="000000"/>
              </a:solidFill>
              <a:latin typeface="EYInterstate Light"/>
            </a:endParaRP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Extraction et traitement de données structurées provenant de plusieurs scripts SAS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Traitement des scripts et conversion automatisée en script SQL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Gestion des opérations sur les tables SQL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  <a:sym typeface="EYInterstate" panose="02000503020000020004" pitchFamily="2" charset="0"/>
            </a:endParaRP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Génération de données synthétiques avec un LLM pour l'insertion dans la base de données. </a:t>
            </a:r>
          </a:p>
          <a:p>
            <a:pPr marL="171450" lvl="2" indent="-171450" fontAlgn="base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SAS, SQL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QT</a:t>
            </a:r>
          </a:p>
          <a:p>
            <a:pPr marL="0" lvl="1" indent="3175" defTabSz="653771" fontAlgn="base">
              <a:spcBef>
                <a:spcPct val="0"/>
              </a:spcBef>
              <a:spcAft>
                <a:spcPts val="60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Traitement de données, acquis technique en SQL, Prompt Engineering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defTabSz="872436" eaLnBrk="0" fontAlgn="base" hangingPunct="0">
              <a:spcAft>
                <a:spcPts val="600"/>
              </a:spcAft>
              <a:buClr>
                <a:srgbClr val="FFD200"/>
              </a:buClr>
              <a:buSzPct val="75000"/>
              <a:tabLst>
                <a:tab pos="1415099" algn="l"/>
                <a:tab pos="2830197" algn="l"/>
                <a:tab pos="4089454" algn="r"/>
              </a:tabLst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/>
              </a:rPr>
              <a:t>Pour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/>
              </a:rPr>
              <a:t>une grande banque : Développement d’une plateforme Power Apps (2 mois) (04/2024 – 05/2024)</a:t>
            </a:r>
            <a:endParaRPr lang="fr-FR" sz="1000" b="1" kern="1200" dirty="0">
              <a:solidFill>
                <a:srgbClr val="000000"/>
              </a:solidFill>
            </a:endParaRP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Conception et développement d'une application </a:t>
            </a:r>
            <a:r>
              <a:rPr lang="fr-FR" sz="1000" dirty="0" err="1"/>
              <a:t>PowerApps</a:t>
            </a:r>
            <a:r>
              <a:rPr lang="fr-FR" sz="1000" dirty="0"/>
              <a:t> pour la gestion de portefeuilles clients au sein d'une grande banque, optimisant le suivi et l'analyse des investissements </a:t>
            </a: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Implémentation d'une interface intuitive permettant aux conseillers financiers d'accéder rapidement aux données clients et de prendre des décisions éclairées </a:t>
            </a: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/>
              <a:t>Intégration de la solution avec les systèmes existants de la banque, assurant une synchronisation efficace des données financières</a:t>
            </a: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Power Apps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 Power Platform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UX Design, MS Office, Power Platform</a:t>
            </a:r>
          </a:p>
          <a:p>
            <a:pPr defTabSz="872436" eaLnBrk="0" fontAlgn="base" hangingPunct="0">
              <a:spcAft>
                <a:spcPts val="600"/>
              </a:spcAft>
              <a:buClr>
                <a:srgbClr val="FFD200"/>
              </a:buClr>
              <a:buSzPct val="75000"/>
              <a:tabLst>
                <a:tab pos="1415099" algn="l"/>
                <a:tab pos="2830197" algn="l"/>
                <a:tab pos="4089454" algn="r"/>
              </a:tabLst>
            </a:pPr>
            <a:r>
              <a:rPr lang="fr-FR" sz="1000" b="1" kern="1200" dirty="0">
                <a:solidFill>
                  <a:srgbClr val="000000"/>
                </a:solidFill>
                <a:latin typeface="EYInterstate Light"/>
                <a:sym typeface="EYInterstate"/>
              </a:rPr>
              <a:t>Pour 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/>
              </a:rPr>
              <a:t>un organisme de formation en Data : Data </a:t>
            </a:r>
            <a:r>
              <a:rPr lang="fr-FR" sz="1000" b="1" dirty="0" err="1">
                <a:solidFill>
                  <a:srgbClr val="000000"/>
                </a:solidFill>
                <a:latin typeface="EYInterstate Light"/>
                <a:sym typeface="EYInterstate"/>
              </a:rPr>
              <a:t>Engineer</a:t>
            </a:r>
            <a:r>
              <a:rPr lang="fr-FR" sz="1000" b="1" dirty="0">
                <a:solidFill>
                  <a:srgbClr val="000000"/>
                </a:solidFill>
                <a:latin typeface="EYInterstate Light"/>
                <a:sym typeface="EYInterstate"/>
              </a:rPr>
              <a:t> (1 an) (09/2022 – 09/2023)</a:t>
            </a:r>
            <a:endParaRPr lang="fr-FR" sz="1000" b="1" kern="1200" dirty="0">
              <a:solidFill>
                <a:srgbClr val="000000"/>
              </a:solidFill>
            </a:endParaRPr>
          </a:p>
          <a:p>
            <a:pPr marL="171450" lvl="2" indent="-17145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Contribution à la définition du parcours pédagogique des apprenants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/>
            </a:endParaRP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Création de modules techniques sur les différentes notions essentielles en Data Engineering et DevOps.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Formateur pour plusieurs grands groupes du CAC40. 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</a:rPr>
              <a:t>Suivi des performances de la chaine de bout en bout, de la récupération des données jusqu'au déploiement dans le cloud. </a:t>
            </a: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r>
              <a:rPr lang="fr-FR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EYInterstate Light"/>
                <a:sym typeface="EYInterstate" panose="02000503020000020004" pitchFamily="2" charset="0"/>
              </a:rPr>
              <a:t>Création et optimisation des pipelines ETL. </a:t>
            </a:r>
          </a:p>
          <a:p>
            <a:pPr marL="171450" lvl="2" indent="-171450" eaLnBrk="0" fontAlgn="base" hangingPunct="0">
              <a:lnSpc>
                <a:spcPct val="110000"/>
              </a:lnSpc>
              <a:spcBef>
                <a:spcPts val="0"/>
              </a:spcBef>
              <a:defRPr/>
            </a:pPr>
            <a:endParaRPr lang="fr-FR" sz="10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Python, SQL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 Cloud AWS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gestion de bases de données, Cloud Engineering, acquis technique en SQL et Python.</a:t>
            </a: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marL="0" lvl="1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6603DD0-ACE2-44CC-8E13-81623464FFE5}"/>
              </a:ext>
            </a:extLst>
          </p:cNvPr>
          <p:cNvGrpSpPr/>
          <p:nvPr/>
        </p:nvGrpSpPr>
        <p:grpSpPr>
          <a:xfrm>
            <a:off x="194388" y="1387892"/>
            <a:ext cx="5724003" cy="240908"/>
            <a:chOff x="2771800" y="833003"/>
            <a:chExt cx="5724003" cy="240908"/>
          </a:xfrm>
        </p:grpSpPr>
        <p:sp>
          <p:nvSpPr>
            <p:cNvPr id="28" name="Rectangle 2">
              <a:extLst>
                <a:ext uri="{FF2B5EF4-FFF2-40B4-BE49-F238E27FC236}">
                  <a16:creationId xmlns:a16="http://schemas.microsoft.com/office/drawing/2014/main" id="{FEDA511B-6774-4214-8447-0C71F8DC5E37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EXPERIENCES PROFESIONNELLES (2/2)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29" name="Connecteur droit 36">
              <a:extLst>
                <a:ext uri="{FF2B5EF4-FFF2-40B4-BE49-F238E27FC236}">
                  <a16:creationId xmlns:a16="http://schemas.microsoft.com/office/drawing/2014/main" id="{B0B5D7E9-F826-4579-81C8-BBFDC7CF5E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9C1F683C-B14E-47B8-8E10-31E58E75D431}"/>
              </a:ext>
            </a:extLst>
          </p:cNvPr>
          <p:cNvSpPr/>
          <p:nvPr/>
        </p:nvSpPr>
        <p:spPr>
          <a:xfrm>
            <a:off x="9531488" y="3773741"/>
            <a:ext cx="1656184" cy="339335"/>
          </a:xfrm>
          <a:prstGeom prst="rect">
            <a:avLst/>
          </a:prstGeom>
          <a:solidFill>
            <a:schemeClr val="accent4">
              <a:lumMod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dirty="0">
                <a:solidFill>
                  <a:schemeClr val="tx2"/>
                </a:solidFill>
              </a:rPr>
              <a:t>EY </a:t>
            </a:r>
            <a:r>
              <a:rPr lang="fr-FR" sz="1200" dirty="0" err="1">
                <a:solidFill>
                  <a:schemeClr val="tx2"/>
                </a:solidFill>
              </a:rPr>
              <a:t>Interstate</a:t>
            </a:r>
            <a:r>
              <a:rPr lang="fr-FR" sz="1200" dirty="0">
                <a:solidFill>
                  <a:schemeClr val="tx2"/>
                </a:solidFill>
              </a:rPr>
              <a:t> Bold 10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C28C8727-BB12-4980-AE2A-B3DCE2FE7AF5}"/>
              </a:ext>
            </a:extLst>
          </p:cNvPr>
          <p:cNvSpPr/>
          <p:nvPr/>
        </p:nvSpPr>
        <p:spPr>
          <a:xfrm>
            <a:off x="9315464" y="3799392"/>
            <a:ext cx="94226" cy="288032"/>
          </a:xfrm>
          <a:prstGeom prst="rightBrace">
            <a:avLst>
              <a:gd name="adj1" fmla="val 48434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740BE40E-46D6-4F45-A08E-D7637C3477EB}"/>
              </a:ext>
            </a:extLst>
          </p:cNvPr>
          <p:cNvSpPr/>
          <p:nvPr/>
        </p:nvSpPr>
        <p:spPr>
          <a:xfrm>
            <a:off x="9315464" y="4185083"/>
            <a:ext cx="216024" cy="2340261"/>
          </a:xfrm>
          <a:prstGeom prst="rightBrace">
            <a:avLst>
              <a:gd name="adj1" fmla="val 48434"/>
              <a:gd name="adj2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02288A9-5D66-46BD-B4FE-84A0FD1810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28584" y="4653136"/>
            <a:ext cx="1568366" cy="1085296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EB8283A-8AF0-431E-BA0E-82410A364813}"/>
              </a:ext>
            </a:extLst>
          </p:cNvPr>
          <p:cNvSpPr/>
          <p:nvPr/>
        </p:nvSpPr>
        <p:spPr>
          <a:xfrm>
            <a:off x="9531488" y="4406284"/>
            <a:ext cx="1656184" cy="493704"/>
          </a:xfrm>
          <a:prstGeom prst="rect">
            <a:avLst/>
          </a:prstGeom>
          <a:solidFill>
            <a:schemeClr val="accent4">
              <a:lumMod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dirty="0">
                <a:solidFill>
                  <a:schemeClr val="tx2"/>
                </a:solidFill>
              </a:rPr>
              <a:t>EY </a:t>
            </a:r>
            <a:r>
              <a:rPr lang="fr-FR" sz="1200" dirty="0" err="1">
                <a:solidFill>
                  <a:schemeClr val="tx2"/>
                </a:solidFill>
              </a:rPr>
              <a:t>Interstate</a:t>
            </a:r>
            <a:r>
              <a:rPr lang="fr-FR" sz="1200" dirty="0">
                <a:solidFill>
                  <a:schemeClr val="tx2"/>
                </a:solidFill>
              </a:rPr>
              <a:t> Light</a:t>
            </a:r>
          </a:p>
          <a:p>
            <a:pPr algn="ctr"/>
            <a:r>
              <a:rPr lang="fr-FR" sz="1200" dirty="0">
                <a:solidFill>
                  <a:schemeClr val="tx2"/>
                </a:solidFill>
              </a:rPr>
              <a:t>10</a:t>
            </a:r>
          </a:p>
        </p:txBody>
      </p:sp>
      <p:pic>
        <p:nvPicPr>
          <p:cNvPr id="2" name="Image 1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B736A98C-D430-8C9F-4CFD-CE1331EACB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19" y="188640"/>
            <a:ext cx="687304" cy="57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008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3449406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50" name="Rectangle 2">
            <a:extLst>
              <a:ext uri="{FF2B5EF4-FFF2-40B4-BE49-F238E27FC236}">
                <a16:creationId xmlns:a16="http://schemas.microsoft.com/office/drawing/2014/main" id="{09E56745-427F-4151-8C3F-020F170F21A1}"/>
              </a:ext>
            </a:extLst>
          </p:cNvPr>
          <p:cNvSpPr txBox="1"/>
          <p:nvPr/>
        </p:nvSpPr>
        <p:spPr>
          <a:xfrm>
            <a:off x="194388" y="1729223"/>
            <a:ext cx="8750610" cy="4940137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0" lvl="1" defTabSz="653771" fontAlgn="base">
              <a:spcBef>
                <a:spcPts val="60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Regular" panose="02000503020000020004" pitchFamily="2" charset="0"/>
                <a:sym typeface="EYInterstate" panose="02000503020000020004" pitchFamily="2" charset="0"/>
              </a:rPr>
              <a:t>Développement de l’application CV </a:t>
            </a:r>
            <a:r>
              <a:rPr lang="fr-FR" sz="1100" b="1" dirty="0" err="1">
                <a:solidFill>
                  <a:srgbClr val="646464"/>
                </a:solidFill>
                <a:latin typeface="EYInterstate Regular" panose="02000503020000020004" pitchFamily="2" charset="0"/>
                <a:sym typeface="EYInterstate" panose="02000503020000020004" pitchFamily="2" charset="0"/>
              </a:rPr>
              <a:t>Interpretator</a:t>
            </a:r>
            <a:r>
              <a:rPr lang="fr-FR" sz="1100" b="1" dirty="0">
                <a:solidFill>
                  <a:srgbClr val="646464"/>
                </a:solidFill>
                <a:latin typeface="EYInterstate Regular" panose="02000503020000020004" pitchFamily="2" charset="0"/>
                <a:sym typeface="EYInterstate" panose="02000503020000020004" pitchFamily="2" charset="0"/>
              </a:rPr>
              <a:t> </a:t>
            </a:r>
            <a:r>
              <a:rPr lang="fr-FR" sz="1100" b="1" dirty="0">
                <a:solidFill>
                  <a:srgbClr val="646464"/>
                </a:solidFill>
                <a:latin typeface="EYInterstate Regular" panose="02000503020000020004" pitchFamily="2" charset="0"/>
              </a:rPr>
              <a:t>(2024 - 2025)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dirty="0">
                <a:latin typeface="EYInterstate Light" panose="02000506000000020004" pitchFamily="2" charset="0"/>
              </a:rPr>
              <a:t>Référent technique et développeur d'une application </a:t>
            </a:r>
            <a:r>
              <a:rPr lang="fr-FR" sz="1000" dirty="0" err="1">
                <a:latin typeface="EYInterstate Light" panose="02000506000000020004" pitchFamily="2" charset="0"/>
              </a:rPr>
              <a:t>streamlit</a:t>
            </a:r>
            <a:r>
              <a:rPr lang="fr-FR" sz="1000" dirty="0">
                <a:latin typeface="EYInterstate Light" panose="02000506000000020004" pitchFamily="2" charset="0"/>
              </a:rPr>
              <a:t> pour l'analyse de CV, intégrant OCR et base de données vectorielles pour une exploitation intelligente des profils professionnels.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dirty="0">
                <a:latin typeface="EYInterstate Light" panose="02000506000000020004" pitchFamily="2" charset="0"/>
              </a:rPr>
              <a:t>Encadrement et suivi d’un groupe d'étudiants centraliens et de membres de l'équipe sur les aspects avancés du développement Python et de l'intégration d'algorithmes d'extraction de données.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dirty="0">
                <a:latin typeface="EYInterstate Light" panose="02000506000000020004" pitchFamily="2" charset="0"/>
              </a:rPr>
              <a:t>Conception et implémentation de l'architecture complète de l'application, de l'OCR à l'interface utilisateur, en passant par le stockage des données.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dirty="0">
                <a:latin typeface="EYInterstate Light" panose="02000506000000020004" pitchFamily="2" charset="0"/>
              </a:rPr>
              <a:t>Développement d'algorithmes de </a:t>
            </a:r>
            <a:r>
              <a:rPr lang="fr-FR" sz="1000" dirty="0" err="1">
                <a:latin typeface="EYInterstate Light" panose="02000506000000020004" pitchFamily="2" charset="0"/>
              </a:rPr>
              <a:t>matching</a:t>
            </a:r>
            <a:r>
              <a:rPr lang="fr-FR" sz="1000" dirty="0">
                <a:latin typeface="EYInterstate Light" panose="02000506000000020004" pitchFamily="2" charset="0"/>
              </a:rPr>
              <a:t> entre missions et CV, optimisant le processus de sélection des profils les plus adaptés aux besoins projets.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dirty="0">
                <a:latin typeface="EYInterstate Light" panose="02000506000000020004" pitchFamily="2" charset="0"/>
              </a:rPr>
              <a:t>Mise en place de KPIs permettant d'identifier les besoins en formation de l'équipe basé sur l'analyse des compétences disponibles et requises.</a:t>
            </a: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1000" dirty="0">
              <a:latin typeface="EYInterstate Light" panose="02000506000000020004" pitchFamily="2" charset="0"/>
            </a:endParaRPr>
          </a:p>
          <a:p>
            <a:pPr marL="0" lvl="2" indent="3175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Langages/Outil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Python</a:t>
            </a:r>
          </a:p>
          <a:p>
            <a:pPr indent="-273050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lateforme/O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Streamlit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+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Qdrant</a:t>
            </a:r>
            <a:endParaRPr lang="fr-FR" sz="1000" dirty="0">
              <a:solidFill>
                <a:srgbClr val="7F7E82">
                  <a:lumMod val="75000"/>
                </a:srgbClr>
              </a:solidFill>
              <a:latin typeface="EYInterstate Light" panose="02000506000000020004" pitchFamily="2" charset="0"/>
              <a:cs typeface="Calibri Light" panose="020F0302020204030204" pitchFamily="34" charset="0"/>
            </a:endParaRPr>
          </a:p>
          <a:p>
            <a:pPr indent="-273050" defTabSz="653771" fontAlgn="base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000" u="sng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Compétences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: Deep Learning, Data management, acquis technique sur les bases de données, </a:t>
            </a:r>
            <a:r>
              <a:rPr lang="fr-FR" sz="1000" dirty="0" err="1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project</a:t>
            </a:r>
            <a:r>
              <a:rPr lang="fr-FR" sz="1000" dirty="0">
                <a:solidFill>
                  <a:srgbClr val="7F7E82">
                    <a:lumMod val="75000"/>
                  </a:srgbClr>
                </a:solidFill>
                <a:latin typeface="EYInterstate Light" panose="02000506000000020004" pitchFamily="2" charset="0"/>
                <a:cs typeface="Calibri Light" panose="020F0302020204030204" pitchFamily="34" charset="0"/>
              </a:rPr>
              <a:t> management, encadrement d’une équip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9A29401-62F6-49AE-B666-37FD27B05BF1}"/>
              </a:ext>
            </a:extLst>
          </p:cNvPr>
          <p:cNvGrpSpPr/>
          <p:nvPr/>
        </p:nvGrpSpPr>
        <p:grpSpPr>
          <a:xfrm>
            <a:off x="194388" y="1387892"/>
            <a:ext cx="5724003" cy="240908"/>
            <a:chOff x="2771800" y="833003"/>
            <a:chExt cx="5724003" cy="240908"/>
          </a:xfrm>
        </p:grpSpPr>
        <p:sp>
          <p:nvSpPr>
            <p:cNvPr id="44" name="Rectangle 2">
              <a:extLst>
                <a:ext uri="{FF2B5EF4-FFF2-40B4-BE49-F238E27FC236}">
                  <a16:creationId xmlns:a16="http://schemas.microsoft.com/office/drawing/2014/main" id="{4C7EDBCF-232C-4AD8-95CE-8EAEA98B6325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PROJETS INTERNES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45" name="Connecteur droit 36">
              <a:extLst>
                <a:ext uri="{FF2B5EF4-FFF2-40B4-BE49-F238E27FC236}">
                  <a16:creationId xmlns:a16="http://schemas.microsoft.com/office/drawing/2014/main" id="{7E920E05-B8BB-492A-AEDF-AE0A349ECA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3">
            <a:extLst>
              <a:ext uri="{FF2B5EF4-FFF2-40B4-BE49-F238E27FC236}">
                <a16:creationId xmlns:a16="http://schemas.microsoft.com/office/drawing/2014/main" id="{F3C9A61D-D402-F3FC-4104-D3364C623B0D}"/>
              </a:ext>
            </a:extLst>
          </p:cNvPr>
          <p:cNvGrpSpPr/>
          <p:nvPr/>
        </p:nvGrpSpPr>
        <p:grpSpPr>
          <a:xfrm>
            <a:off x="157618" y="188594"/>
            <a:ext cx="8824151" cy="576111"/>
            <a:chOff x="157618" y="620688"/>
            <a:chExt cx="8824151" cy="720080"/>
          </a:xfrm>
        </p:grpSpPr>
        <p:sp>
          <p:nvSpPr>
            <p:cNvPr id="3" name="Rectangle 1">
              <a:extLst>
                <a:ext uri="{FF2B5EF4-FFF2-40B4-BE49-F238E27FC236}">
                  <a16:creationId xmlns:a16="http://schemas.microsoft.com/office/drawing/2014/main" id="{9F802AAD-770C-732C-672A-BA23EA93C8ED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7618" y="620688"/>
              <a:ext cx="8824151" cy="720080"/>
            </a:xfrm>
            <a:prstGeom prst="rect">
              <a:avLst/>
            </a:prstGeom>
            <a:solidFill>
              <a:srgbClr val="FFE600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80071" tIns="40036" rIns="80071" bIns="40036" anchor="ctr"/>
            <a:lstStyle/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715963" lvl="2"/>
              <a:r>
                <a:rPr lang="fr-FR" altLang="fr-FR" sz="1000" b="1" dirty="0" err="1">
                  <a:solidFill>
                    <a:prstClr val="black"/>
                  </a:solidFill>
                  <a:latin typeface="EYInterstate Regular" panose="02000503020000020004" pitchFamily="2" charset="0"/>
                </a:rPr>
                <a:t>Yaniv</a:t>
              </a:r>
              <a:r>
                <a:rPr lang="fr-FR" altLang="fr-FR" sz="1000" b="1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 Benichou</a:t>
              </a:r>
            </a:p>
            <a:p>
              <a:pPr marL="715963" lvl="2"/>
              <a:r>
                <a:rPr lang="fr-FR" altLang="fr-FR" sz="1000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Staff/Assistant – Data &amp; Analytics</a:t>
              </a:r>
            </a:p>
            <a:p>
              <a:pPr lvl="2"/>
              <a:r>
                <a:rPr lang="fr-FR" altLang="fr-FR" sz="1000" dirty="0">
                  <a:latin typeface="EYInterstate Regular" panose="02000503020000020004" pitchFamily="2" charset="0"/>
                </a:rPr>
                <a:t> </a:t>
              </a:r>
              <a:endParaRPr lang="fr-FR" altLang="fr-FR" sz="1000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911595" lvl="2" indent="-111169" defTabSz="911595">
                <a:spcAft>
                  <a:spcPct val="0"/>
                </a:spcAft>
              </a:pPr>
              <a:endParaRPr lang="fr-FR" altLang="fr-FR" sz="1100" kern="0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: Rounded Corners 14">
              <a:extLst>
                <a:ext uri="{FF2B5EF4-FFF2-40B4-BE49-F238E27FC236}">
                  <a16:creationId xmlns:a16="http://schemas.microsoft.com/office/drawing/2014/main" id="{6A16A8AF-7B4B-BB5E-D67B-C63556CA2809}"/>
                </a:ext>
              </a:extLst>
            </p:cNvPr>
            <p:cNvSpPr/>
            <p:nvPr/>
          </p:nvSpPr>
          <p:spPr>
            <a:xfrm>
              <a:off x="6615644" y="819836"/>
              <a:ext cx="2067431" cy="311770"/>
            </a:xfrm>
            <a:prstGeom prst="roundRect">
              <a:avLst/>
            </a:prstGeom>
            <a:noFill/>
            <a:ln>
              <a:solidFill>
                <a:srgbClr val="2E2E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1100" i="1" dirty="0">
                  <a:solidFill>
                    <a:srgbClr val="2E2E38"/>
                  </a:solidFill>
                  <a:latin typeface="EYInterstate Bold"/>
                </a:rPr>
                <a:t>Base CV T1 FY26</a:t>
              </a:r>
            </a:p>
          </p:txBody>
        </p:sp>
      </p:grpSp>
      <p:pic>
        <p:nvPicPr>
          <p:cNvPr id="6" name="Image 5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CAC3604E-789E-4017-10D7-F8D56B3FB4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19" y="188640"/>
            <a:ext cx="687304" cy="57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39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3449406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50" name="Rectangle 2">
            <a:extLst>
              <a:ext uri="{FF2B5EF4-FFF2-40B4-BE49-F238E27FC236}">
                <a16:creationId xmlns:a16="http://schemas.microsoft.com/office/drawing/2014/main" id="{09E56745-427F-4151-8C3F-020F170F21A1}"/>
              </a:ext>
            </a:extLst>
          </p:cNvPr>
          <p:cNvSpPr txBox="1"/>
          <p:nvPr/>
        </p:nvSpPr>
        <p:spPr>
          <a:xfrm>
            <a:off x="194388" y="1729223"/>
            <a:ext cx="8750610" cy="2851905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171450" lvl="1" indent="-17145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The Python Bible :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Everything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you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need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to program in Python</a:t>
            </a: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2021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  <a:p>
            <a:pPr marL="171450" lvl="1" indent="-17145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Data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Scientist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Training Course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Bootcamp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Mars 2022</a:t>
            </a:r>
          </a:p>
          <a:p>
            <a:pPr marL="171450" lvl="1" indent="-17145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Data Engineering Training Course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Bootcamp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Septembre 2022</a:t>
            </a:r>
          </a:p>
          <a:p>
            <a:pPr marL="177800" lvl="1" indent="-17780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Guidewire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</a:t>
            </a:r>
            <a:r>
              <a:rPr lang="fr-FR" sz="1100" dirty="0" err="1"/>
              <a:t>Certified</a:t>
            </a:r>
            <a:r>
              <a:rPr lang="fr-FR" sz="1100" dirty="0"/>
              <a:t> </a:t>
            </a:r>
            <a:r>
              <a:rPr lang="fr-FR" sz="1100" dirty="0" err="1"/>
              <a:t>Specialist</a:t>
            </a:r>
            <a:r>
              <a:rPr lang="fr-FR" sz="1100" dirty="0"/>
              <a:t> </a:t>
            </a:r>
            <a:r>
              <a:rPr lang="fr-FR" sz="1100" dirty="0" err="1"/>
              <a:t>DataHub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  <a:cs typeface="Arial" charset="0"/>
            </a:endParaRPr>
          </a:p>
          <a:p>
            <a:pPr marL="177800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Janvier 2025</a:t>
            </a:r>
          </a:p>
          <a:p>
            <a:pPr marL="171450" lvl="1" indent="-17145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Databricks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– Data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Engineer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Associate</a:t>
            </a:r>
          </a:p>
          <a:p>
            <a:pPr marL="182563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Septembre 2024</a:t>
            </a:r>
          </a:p>
          <a:p>
            <a:pPr marL="171450" lvl="1" indent="-171450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buFont typeface="Arial" panose="020B0604020202020204" pitchFamily="34" charset="0"/>
              <a:buChar char="•"/>
              <a:tabLst>
                <a:tab pos="2120849" algn="l"/>
                <a:tab pos="3064489" algn="r"/>
              </a:tabLst>
              <a:defRPr/>
            </a:pP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Snowflake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–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Bootcamp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training</a:t>
            </a:r>
          </a:p>
          <a:p>
            <a:pPr marL="182563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 err="1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Decembre</a:t>
            </a: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 2024</a:t>
            </a:r>
          </a:p>
        </p:txBody>
      </p:sp>
      <p:sp>
        <p:nvSpPr>
          <p:cNvPr id="43" name="Rectangle 2">
            <a:extLst>
              <a:ext uri="{FF2B5EF4-FFF2-40B4-BE49-F238E27FC236}">
                <a16:creationId xmlns:a16="http://schemas.microsoft.com/office/drawing/2014/main" id="{16350C41-33EE-40E7-80EF-0F7E2F829497}"/>
              </a:ext>
            </a:extLst>
          </p:cNvPr>
          <p:cNvSpPr txBox="1"/>
          <p:nvPr/>
        </p:nvSpPr>
        <p:spPr>
          <a:xfrm>
            <a:off x="188080" y="5149768"/>
            <a:ext cx="8750610" cy="1159552"/>
          </a:xfrm>
          <a:prstGeom prst="rect">
            <a:avLst/>
          </a:prstGeom>
          <a:noFill/>
        </p:spPr>
        <p:txBody>
          <a:bodyPr wrap="square" lIns="0" tIns="0" rIns="0" bIns="0" numCol="2" spcCol="71994" rtlCol="0">
            <a:noAutofit/>
          </a:bodyPr>
          <a:lstStyle/>
          <a:p>
            <a:pPr marL="0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SAS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Programming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</a:t>
            </a: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(En cours – 80%)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  <a:cs typeface="Arial" charset="0"/>
            </a:endParaRPr>
          </a:p>
          <a:p>
            <a:pPr marL="0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SAS </a:t>
            </a:r>
            <a:r>
              <a:rPr lang="fr-FR" sz="1100" b="1" dirty="0" err="1">
                <a:solidFill>
                  <a:srgbClr val="646464"/>
                </a:solidFill>
                <a:latin typeface="EYInterstate Light" panose="02000506000000020004" pitchFamily="2" charset="0"/>
              </a:rPr>
              <a:t>Viya</a:t>
            </a:r>
            <a:r>
              <a:rPr lang="fr-FR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 Administration</a:t>
            </a: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r>
              <a: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rPr>
              <a:t>(En cours – 50%)</a:t>
            </a:r>
            <a:endParaRPr lang="fr-FR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  <a:p>
            <a:pPr marL="180975" lvl="1" defTabSz="653771">
              <a:lnSpc>
                <a:spcPts val="980"/>
              </a:lnSpc>
              <a:spcBef>
                <a:spcPct val="0"/>
              </a:spcBef>
              <a:spcAft>
                <a:spcPts val="450"/>
              </a:spcAft>
              <a:buClr>
                <a:srgbClr val="FFD200"/>
              </a:buClr>
              <a:buSzPct val="125000"/>
              <a:tabLst>
                <a:tab pos="2120849" algn="l"/>
                <a:tab pos="3064489" algn="r"/>
              </a:tabLst>
              <a:defRPr/>
            </a:pPr>
            <a:endParaRPr lang="fr-FR" sz="1100" dirty="0">
              <a:solidFill>
                <a:srgbClr val="646464"/>
              </a:solidFill>
              <a:latin typeface="EYInterstate Light" panose="02000506000000020004" pitchFamily="2" charset="0"/>
              <a:cs typeface="Arial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9F9A191-73CE-4E50-A3BE-922AC11D64B5}"/>
              </a:ext>
            </a:extLst>
          </p:cNvPr>
          <p:cNvGrpSpPr/>
          <p:nvPr/>
        </p:nvGrpSpPr>
        <p:grpSpPr>
          <a:xfrm>
            <a:off x="194388" y="1387892"/>
            <a:ext cx="5724003" cy="240908"/>
            <a:chOff x="2771800" y="833003"/>
            <a:chExt cx="5724003" cy="240908"/>
          </a:xfrm>
        </p:grpSpPr>
        <p:sp>
          <p:nvSpPr>
            <p:cNvPr id="35" name="Rectangle 2">
              <a:extLst>
                <a:ext uri="{FF2B5EF4-FFF2-40B4-BE49-F238E27FC236}">
                  <a16:creationId xmlns:a16="http://schemas.microsoft.com/office/drawing/2014/main" id="{CB682A5F-2E3F-4B7E-85DC-6352D03EE861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FORMATIONS TERMINEES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36" name="Connecteur droit 36">
              <a:extLst>
                <a:ext uri="{FF2B5EF4-FFF2-40B4-BE49-F238E27FC236}">
                  <a16:creationId xmlns:a16="http://schemas.microsoft.com/office/drawing/2014/main" id="{460D161C-CE44-49A9-B3F7-2F6F733C0B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AC88AF1-602F-49BC-9952-7721CC22CCB4}"/>
              </a:ext>
            </a:extLst>
          </p:cNvPr>
          <p:cNvGrpSpPr/>
          <p:nvPr/>
        </p:nvGrpSpPr>
        <p:grpSpPr>
          <a:xfrm>
            <a:off x="194388" y="4769159"/>
            <a:ext cx="5724003" cy="240908"/>
            <a:chOff x="2771800" y="833003"/>
            <a:chExt cx="5724003" cy="240908"/>
          </a:xfrm>
        </p:grpSpPr>
        <p:sp>
          <p:nvSpPr>
            <p:cNvPr id="52" name="Rectangle 2">
              <a:extLst>
                <a:ext uri="{FF2B5EF4-FFF2-40B4-BE49-F238E27FC236}">
                  <a16:creationId xmlns:a16="http://schemas.microsoft.com/office/drawing/2014/main" id="{3B87D65C-A58F-46CF-BE93-406EBDC97C8B}"/>
                </a:ext>
              </a:extLst>
            </p:cNvPr>
            <p:cNvSpPr txBox="1"/>
            <p:nvPr/>
          </p:nvSpPr>
          <p:spPr>
            <a:xfrm>
              <a:off x="2771801" y="833003"/>
              <a:ext cx="5724002" cy="240908"/>
            </a:xfrm>
            <a:prstGeom prst="rect">
              <a:avLst/>
            </a:prstGeom>
            <a:noFill/>
          </p:spPr>
          <p:txBody>
            <a:bodyPr wrap="square" lIns="0" tIns="0" rIns="0" bIns="0" numCol="1" spcCol="71994" rtlCol="0" anchor="ctr">
              <a:noAutofit/>
            </a:bodyPr>
            <a:lstStyle/>
            <a:p>
              <a:pPr defTabSz="872436" eaLnBrk="0" fontAlgn="base" hangingPunct="0"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</a:pPr>
              <a:r>
                <a:rPr lang="fr-FR" sz="1200" b="1" dirty="0">
                  <a:solidFill>
                    <a:srgbClr val="646464"/>
                  </a:solidFill>
                  <a:latin typeface="EYInterstate Regular" panose="02000503020000020004" pitchFamily="2" charset="0"/>
                  <a:sym typeface="Arial Unicode MS" pitchFamily="34" charset="-128"/>
                </a:rPr>
                <a:t>FORMATIONS EN COURS</a:t>
              </a:r>
              <a:endParaRPr lang="fr-FR" sz="900" dirty="0">
                <a:solidFill>
                  <a:srgbClr val="646464"/>
                </a:solidFill>
                <a:latin typeface="EYInterstate Regular" panose="02000503020000020004" pitchFamily="2" charset="0"/>
                <a:cs typeface="Arial" charset="0"/>
                <a:sym typeface="EYInterstate" panose="02000503020000020004" pitchFamily="2" charset="0"/>
              </a:endParaRPr>
            </a:p>
          </p:txBody>
        </p:sp>
        <p:cxnSp>
          <p:nvCxnSpPr>
            <p:cNvPr id="53" name="Connecteur droit 36">
              <a:extLst>
                <a:ext uri="{FF2B5EF4-FFF2-40B4-BE49-F238E27FC236}">
                  <a16:creationId xmlns:a16="http://schemas.microsoft.com/office/drawing/2014/main" id="{FA88FDA9-66F2-4904-9B15-8001090AAE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1800" y="1065648"/>
              <a:ext cx="306834" cy="0"/>
            </a:xfrm>
            <a:prstGeom prst="line">
              <a:avLst/>
            </a:prstGeom>
            <a:ln w="12700">
              <a:solidFill>
                <a:srgbClr val="FFE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3">
            <a:extLst>
              <a:ext uri="{FF2B5EF4-FFF2-40B4-BE49-F238E27FC236}">
                <a16:creationId xmlns:a16="http://schemas.microsoft.com/office/drawing/2014/main" id="{C241521B-CE1B-7632-D599-0E10DE7F6B62}"/>
              </a:ext>
            </a:extLst>
          </p:cNvPr>
          <p:cNvGrpSpPr/>
          <p:nvPr/>
        </p:nvGrpSpPr>
        <p:grpSpPr>
          <a:xfrm>
            <a:off x="157618" y="188594"/>
            <a:ext cx="8824151" cy="576111"/>
            <a:chOff x="157618" y="620688"/>
            <a:chExt cx="8824151" cy="720080"/>
          </a:xfrm>
        </p:grpSpPr>
        <p:sp>
          <p:nvSpPr>
            <p:cNvPr id="3" name="Rectangle 1">
              <a:extLst>
                <a:ext uri="{FF2B5EF4-FFF2-40B4-BE49-F238E27FC236}">
                  <a16:creationId xmlns:a16="http://schemas.microsoft.com/office/drawing/2014/main" id="{36463DFD-E152-127F-0BBD-3D0A0FF4ED58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7618" y="620688"/>
              <a:ext cx="8824151" cy="720080"/>
            </a:xfrm>
            <a:prstGeom prst="rect">
              <a:avLst/>
            </a:prstGeom>
            <a:solidFill>
              <a:srgbClr val="FFE600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80071" tIns="40036" rIns="80071" bIns="40036" anchor="ctr"/>
            <a:lstStyle/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lvl="2"/>
              <a:endParaRPr lang="fr-FR" altLang="fr-FR" sz="1000" b="1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715963" lvl="2"/>
              <a:r>
                <a:rPr lang="fr-FR" altLang="fr-FR" sz="1000" b="1" dirty="0" err="1">
                  <a:solidFill>
                    <a:prstClr val="black"/>
                  </a:solidFill>
                  <a:latin typeface="EYInterstate Regular" panose="02000503020000020004" pitchFamily="2" charset="0"/>
                </a:rPr>
                <a:t>Yaniv</a:t>
              </a:r>
              <a:r>
                <a:rPr lang="fr-FR" altLang="fr-FR" sz="1000" b="1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 Benichou</a:t>
              </a:r>
            </a:p>
            <a:p>
              <a:pPr marL="715963" lvl="2"/>
              <a:r>
                <a:rPr lang="fr-FR" altLang="fr-FR" sz="1000" dirty="0">
                  <a:solidFill>
                    <a:prstClr val="black"/>
                  </a:solidFill>
                  <a:latin typeface="EYInterstate Regular" panose="02000503020000020004" pitchFamily="2" charset="0"/>
                </a:rPr>
                <a:t>Staff/Assistant – Data &amp; Analytics</a:t>
              </a:r>
            </a:p>
            <a:p>
              <a:pPr lvl="2"/>
              <a:r>
                <a:rPr lang="fr-FR" altLang="fr-FR" sz="1000" dirty="0">
                  <a:latin typeface="EYInterstate Regular" panose="02000503020000020004" pitchFamily="2" charset="0"/>
                </a:rPr>
                <a:t> </a:t>
              </a:r>
              <a:endParaRPr lang="fr-FR" altLang="fr-FR" sz="1000" dirty="0">
                <a:solidFill>
                  <a:prstClr val="black"/>
                </a:solidFill>
                <a:latin typeface="EYInterstate Regular" panose="02000503020000020004" pitchFamily="2" charset="0"/>
              </a:endParaRPr>
            </a:p>
            <a:p>
              <a:pPr marL="911595" lvl="2" indent="-111169" defTabSz="911595">
                <a:spcAft>
                  <a:spcPct val="0"/>
                </a:spcAft>
              </a:pPr>
              <a:endParaRPr lang="fr-FR" altLang="fr-FR" sz="1100" kern="0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: Rounded Corners 14">
              <a:extLst>
                <a:ext uri="{FF2B5EF4-FFF2-40B4-BE49-F238E27FC236}">
                  <a16:creationId xmlns:a16="http://schemas.microsoft.com/office/drawing/2014/main" id="{5311DAB3-5A51-2EFF-6409-84F27B14708B}"/>
                </a:ext>
              </a:extLst>
            </p:cNvPr>
            <p:cNvSpPr/>
            <p:nvPr/>
          </p:nvSpPr>
          <p:spPr>
            <a:xfrm>
              <a:off x="6615644" y="819836"/>
              <a:ext cx="2067431" cy="311770"/>
            </a:xfrm>
            <a:prstGeom prst="roundRect">
              <a:avLst/>
            </a:prstGeom>
            <a:noFill/>
            <a:ln>
              <a:solidFill>
                <a:srgbClr val="2E2E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fr-FR" sz="1100" i="1" dirty="0">
                  <a:solidFill>
                    <a:srgbClr val="2E2E38"/>
                  </a:solidFill>
                  <a:latin typeface="EYInterstate Bold"/>
                </a:rPr>
                <a:t>Base CV T1 FY26</a:t>
              </a:r>
            </a:p>
          </p:txBody>
        </p:sp>
      </p:grpSp>
      <p:pic>
        <p:nvPicPr>
          <p:cNvPr id="6" name="Image 5" descr="Une image contenant Visage humain, personne, sourire, habits&#10;&#10;Le contenu généré par l’IA peut être incorrect.">
            <a:extLst>
              <a:ext uri="{FF2B5EF4-FFF2-40B4-BE49-F238E27FC236}">
                <a16:creationId xmlns:a16="http://schemas.microsoft.com/office/drawing/2014/main" id="{B2FA899A-E799-13B2-16AC-BC0F05D884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19" y="188640"/>
            <a:ext cx="687304" cy="57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900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12k.JSxC4SIlTRFZ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0o8MPvTDSK3C8fVaCb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jIHxqQDO0rUcpV4nJ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jU1sRMSWeKjzEcGphT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tHPvB_Q1eHSaKifyJD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regular presentation 2010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Theme1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ustom 2">
      <a:majorFont>
        <a:latin typeface="EYInterstate Bold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heme1" id="{245F5D78-65F5-4809-AF5D-8C24287423D2}" vid="{50F494D4-7851-484F-AC1A-05A467D86DE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9F4902E34C82469835C6B3A1C3891B" ma:contentTypeVersion="2" ma:contentTypeDescription="Crée un document." ma:contentTypeScope="" ma:versionID="ef6cd460ce77e035cf495c23910c06e3">
  <xsd:schema xmlns:xsd="http://www.w3.org/2001/XMLSchema" xmlns:xs="http://www.w3.org/2001/XMLSchema" xmlns:p="http://schemas.microsoft.com/office/2006/metadata/properties" xmlns:ns2="87bcff34-b0fb-4f64-915d-6bca388b521e" targetNamespace="http://schemas.microsoft.com/office/2006/metadata/properties" ma:root="true" ma:fieldsID="f603783281cbaf3fc4dc0ef90b25b2c0" ns2:_="">
    <xsd:import namespace="87bcff34-b0fb-4f64-915d-6bca388b52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bcff34-b0fb-4f64-915d-6bca388b52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5451B5-A6F5-4EE9-8390-F489C7E81444}">
  <ds:schemaRefs>
    <ds:schemaRef ds:uri="http://schemas.microsoft.com/office/infopath/2007/PartnerControls"/>
    <ds:schemaRef ds:uri="http://purl.org/dc/terms/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87bcff34-b0fb-4f64-915d-6bca388b521e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04F1E25-ECE1-4F03-B0D7-B7B0BF5069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BB4E6F-F3B0-4271-89DA-3AF4C61A54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bcff34-b0fb-4f64-915d-6bca388b52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866</TotalTime>
  <Words>1295</Words>
  <Application>Microsoft Macintosh PowerPoint</Application>
  <PresentationFormat>Affichage à l'écran (4:3)</PresentationFormat>
  <Paragraphs>178</Paragraphs>
  <Slides>5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4" baseType="lpstr">
      <vt:lpstr>Arial Unicode MS</vt:lpstr>
      <vt:lpstr>Arial</vt:lpstr>
      <vt:lpstr>Calibri</vt:lpstr>
      <vt:lpstr>EYInterstate Bold</vt:lpstr>
      <vt:lpstr>EYInterstate Light</vt:lpstr>
      <vt:lpstr>EYInterstate Regular</vt:lpstr>
      <vt:lpstr>EY regular presentation 2010</vt:lpstr>
      <vt:lpstr>Theme1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</dc:title>
  <dc:creator>Alexandre.Eboyeye@fr.ey.com</dc:creator>
  <cp:lastModifiedBy>Yaniv Benichou</cp:lastModifiedBy>
  <cp:revision>263</cp:revision>
  <dcterms:created xsi:type="dcterms:W3CDTF">2016-06-07T11:10:41Z</dcterms:created>
  <dcterms:modified xsi:type="dcterms:W3CDTF">2025-07-18T16:2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9F4902E34C82469835C6B3A1C3891B</vt:lpwstr>
  </property>
</Properties>
</file>